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54.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notesSlides/notesSlide1.xml" ContentType="application/vnd.openxmlformats-officedocument.presentationml.notesSlide+xml"/>
  <Override PartName="/ppt/tags/tag7.xml" ContentType="application/vnd.openxmlformats-officedocument.presentationml.tags+xml"/>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Default Extension="wdp" ContentType="image/vnd.ms-photo"/>
  <Override PartName="/ppt/slideLayouts/slideLayout10.xml" ContentType="application/vnd.openxmlformats-officedocument.presentationml.slideLayout+xml"/>
  <Default Extension="vml" ContentType="application/vnd.openxmlformats-officedocument.vmlDrawing"/>
  <Default Extension="gif" ContentType="image/gif"/>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Default Extension="wmf" ContentType="image/x-wmf"/>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0"/>
  </p:notesMasterIdLst>
  <p:handoutMasterIdLst>
    <p:handoutMasterId r:id="rId21"/>
  </p:handoutMasterIdLst>
  <p:sldIdLst>
    <p:sldId id="546" r:id="rId2"/>
    <p:sldId id="582" r:id="rId3"/>
    <p:sldId id="583" r:id="rId4"/>
    <p:sldId id="584" r:id="rId5"/>
    <p:sldId id="618" r:id="rId6"/>
    <p:sldId id="556" r:id="rId7"/>
    <p:sldId id="591" r:id="rId8"/>
    <p:sldId id="587" r:id="rId9"/>
    <p:sldId id="604" r:id="rId10"/>
    <p:sldId id="617" r:id="rId11"/>
    <p:sldId id="607" r:id="rId12"/>
    <p:sldId id="588" r:id="rId13"/>
    <p:sldId id="593" r:id="rId14"/>
    <p:sldId id="577" r:id="rId15"/>
    <p:sldId id="592" r:id="rId16"/>
    <p:sldId id="576" r:id="rId17"/>
    <p:sldId id="596" r:id="rId18"/>
    <p:sldId id="597" r:id="rId19"/>
  </p:sldIdLst>
  <p:sldSz cx="9144000" cy="6858000" type="screen4x3"/>
  <p:notesSz cx="6797675" cy="9926638"/>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iekmann Laura" initials="-" lastIdx="25"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595443"/>
    <a:srgbClr val="9DB1CF"/>
    <a:srgbClr val="00B05A"/>
    <a:srgbClr val="005F97"/>
    <a:srgbClr val="9A785B"/>
    <a:srgbClr val="92A2BD"/>
    <a:srgbClr val="AEA400"/>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994" autoAdjust="0"/>
    <p:restoredTop sz="96014" autoAdjust="0"/>
  </p:normalViewPr>
  <p:slideViewPr>
    <p:cSldViewPr snapToObjects="1" showGuides="1">
      <p:cViewPr>
        <p:scale>
          <a:sx n="70" d="100"/>
          <a:sy n="70" d="100"/>
        </p:scale>
        <p:origin x="-1602" y="-114"/>
      </p:cViewPr>
      <p:guideLst>
        <p:guide orient="horz" pos="1071"/>
        <p:guide orient="horz" pos="254"/>
        <p:guide orient="horz" pos="4111"/>
        <p:guide orient="horz" pos="4319"/>
        <p:guide orient="horz" pos="2341"/>
        <p:guide pos="5466"/>
        <p:guide pos="2880"/>
        <p:guide pos="295"/>
      </p:guideLst>
    </p:cSldViewPr>
  </p:slideViewPr>
  <p:notesTextViewPr>
    <p:cViewPr>
      <p:scale>
        <a:sx n="1" d="1"/>
        <a:sy n="1" d="1"/>
      </p:scale>
      <p:origin x="0" y="0"/>
    </p:cViewPr>
  </p:notesTextViewPr>
  <p:sorterViewPr>
    <p:cViewPr>
      <p:scale>
        <a:sx n="100" d="100"/>
        <a:sy n="100" d="100"/>
      </p:scale>
      <p:origin x="0" y="0"/>
    </p:cViewPr>
  </p:sorterViewPr>
  <p:notesViewPr>
    <p:cSldViewPr snapToObjects="1" showGuides="1">
      <p:cViewPr varScale="1">
        <p:scale>
          <a:sx n="83" d="100"/>
          <a:sy n="83" d="100"/>
        </p:scale>
        <p:origin x="-3108" y="-78"/>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image" Target="../media/image4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765A50F3-0B4E-4FD4-B59E-04F1BED25517}" type="datetimeFigureOut">
              <a:rPr lang="de-DE" smtClean="0"/>
              <a:pPr/>
              <a:t>24.07.2014</a:t>
            </a:fld>
            <a:endParaRPr lang="de-DE"/>
          </a:p>
        </p:txBody>
      </p:sp>
      <p:sp>
        <p:nvSpPr>
          <p:cNvPr id="4" name="Fußzeilenplatzhalt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96D5D111-854B-4DA7-B256-CD6C4C581204}" type="slidenum">
              <a:rPr lang="de-DE" smtClean="0"/>
              <a:pPr/>
              <a:t>‹Nr.›</a:t>
            </a:fld>
            <a:endParaRPr lang="de-DE"/>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BA23DC7E-545F-4537-850F-CC5C2B410559}" type="datetimeFigureOut">
              <a:rPr lang="de-DE" smtClean="0"/>
              <a:pPr/>
              <a:t>24.07.2014</a:t>
            </a:fld>
            <a:endParaRPr lang="de-DE" dirty="0"/>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F67A725A-9256-4EC5-8CDB-4CC5D97770DD}" type="slidenum">
              <a:rPr lang="de-DE" smtClean="0"/>
              <a:pPr/>
              <a:t>‹Nr.›</a:t>
            </a:fld>
            <a:endParaRPr lang="de-DE" dirty="0"/>
          </a:p>
        </p:txBody>
      </p:sp>
    </p:spTree>
    <p:extLst>
      <p:ext uri="{BB962C8B-B14F-4D97-AF65-F5344CB8AC3E}">
        <p14:creationId xmlns="" xmlns:p14="http://schemas.microsoft.com/office/powerpoint/2010/main" val="2083301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F67A725A-9256-4EC5-8CDB-4CC5D97770DD}" type="slidenum">
              <a:rPr lang="de-DE" smtClean="0"/>
              <a:pPr/>
              <a:t>4</a:t>
            </a:fld>
            <a:endParaRPr lang="de-DE"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F67A725A-9256-4EC5-8CDB-4CC5D97770DD}" type="slidenum">
              <a:rPr lang="de-DE" smtClean="0"/>
              <a:pPr/>
              <a:t>5</a:t>
            </a:fld>
            <a:endParaRPr lang="de-D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17575" y="744538"/>
            <a:ext cx="4962525" cy="3722687"/>
          </a:xfrm>
        </p:spPr>
      </p:sp>
      <p:sp>
        <p:nvSpPr>
          <p:cNvPr id="3" name="Notizenplatzhalter 2"/>
          <p:cNvSpPr>
            <a:spLocks noGrp="1"/>
          </p:cNvSpPr>
          <p:nvPr>
            <p:ph type="body" idx="1"/>
          </p:nvPr>
        </p:nvSpPr>
        <p:spPr/>
        <p:txBody>
          <a:bodyPr>
            <a:normAutofit/>
          </a:bodyPr>
          <a:lstStyle/>
          <a:p>
            <a:r>
              <a:rPr lang="de-DE" dirty="0" smtClean="0"/>
              <a:t>C</a:t>
            </a:r>
            <a:endParaRPr lang="de-DE" dirty="0"/>
          </a:p>
        </p:txBody>
      </p:sp>
      <p:sp>
        <p:nvSpPr>
          <p:cNvPr id="4" name="Foliennummernplatzhalter 3"/>
          <p:cNvSpPr>
            <a:spLocks noGrp="1"/>
          </p:cNvSpPr>
          <p:nvPr>
            <p:ph type="sldNum" sz="quarter" idx="10"/>
          </p:nvPr>
        </p:nvSpPr>
        <p:spPr/>
        <p:txBody>
          <a:bodyPr/>
          <a:lstStyle/>
          <a:p>
            <a:fld id="{F67A725A-9256-4EC5-8CDB-4CC5D97770DD}" type="slidenum">
              <a:rPr lang="de-DE" smtClean="0">
                <a:solidFill>
                  <a:prstClr val="black"/>
                </a:solidFill>
              </a:rPr>
              <a:pPr/>
              <a:t>13</a:t>
            </a:fld>
            <a:endParaRPr lang="de-DE" dirty="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17575" y="744538"/>
            <a:ext cx="4962525" cy="3722687"/>
          </a:xfrm>
        </p:spPr>
      </p:sp>
      <p:sp>
        <p:nvSpPr>
          <p:cNvPr id="3" name="Notizenplatzhalter 2"/>
          <p:cNvSpPr>
            <a:spLocks noGrp="1"/>
          </p:cNvSpPr>
          <p:nvPr>
            <p:ph type="body" idx="1"/>
          </p:nvPr>
        </p:nvSpPr>
        <p:spPr/>
        <p:txBody>
          <a:bodyPr/>
          <a:lstStyle/>
          <a:p>
            <a:pPr marL="88900" indent="-88900"/>
            <a:r>
              <a:rPr lang="de-DE" sz="1200" b="1" dirty="0" smtClean="0">
                <a:solidFill>
                  <a:prstClr val="black"/>
                </a:solidFill>
              </a:rPr>
              <a:t>Ergebnis:</a:t>
            </a:r>
            <a:r>
              <a:rPr lang="de-DE" sz="1200" dirty="0" smtClean="0">
                <a:solidFill>
                  <a:prstClr val="black"/>
                </a:solidFill>
              </a:rPr>
              <a:t>	</a:t>
            </a:r>
          </a:p>
          <a:p>
            <a:pPr marL="171450" indent="-171450">
              <a:buFont typeface="Wingdings" panose="05000000000000000000" pitchFamily="2" charset="2"/>
              <a:buChar char="§"/>
            </a:pPr>
            <a:r>
              <a:rPr lang="de-DE" sz="1200" dirty="0" smtClean="0">
                <a:solidFill>
                  <a:prstClr val="black"/>
                </a:solidFill>
              </a:rPr>
              <a:t>Das Reifegradmanagement erzeugt Transparenz über </a:t>
            </a:r>
            <a:r>
              <a:rPr lang="de-DE" sz="1200" b="1" dirty="0" smtClean="0">
                <a:solidFill>
                  <a:prstClr val="black"/>
                </a:solidFill>
              </a:rPr>
              <a:t>Produkt- und Prozessreifeergebnisse </a:t>
            </a:r>
            <a:r>
              <a:rPr lang="de-DE" sz="1200" dirty="0" smtClean="0">
                <a:solidFill>
                  <a:prstClr val="black"/>
                </a:solidFill>
              </a:rPr>
              <a:t>von Komponente, Teilsystem und Gesamtfahrzeug.</a:t>
            </a:r>
          </a:p>
          <a:p>
            <a:pPr marL="171450" indent="-171450">
              <a:buFont typeface="Wingdings" panose="05000000000000000000" pitchFamily="2" charset="2"/>
              <a:buChar char="§"/>
            </a:pPr>
            <a:r>
              <a:rPr lang="de-DE" sz="1200" dirty="0" smtClean="0">
                <a:solidFill>
                  <a:prstClr val="black"/>
                </a:solidFill>
              </a:rPr>
              <a:t>Die</a:t>
            </a:r>
            <a:r>
              <a:rPr lang="de-DE" sz="1200" b="1" dirty="0" smtClean="0">
                <a:solidFill>
                  <a:prstClr val="black"/>
                </a:solidFill>
              </a:rPr>
              <a:t> Produktreife </a:t>
            </a:r>
            <a:r>
              <a:rPr lang="de-DE" sz="1200" dirty="0" smtClean="0">
                <a:solidFill>
                  <a:prstClr val="black"/>
                </a:solidFill>
              </a:rPr>
              <a:t>wird im wesentlichen über das E-Ressort gesteuert  und beinhaltet die entwicklungsrelevanten Reifeanforderungen aus EMT. </a:t>
            </a:r>
          </a:p>
          <a:p>
            <a:pPr marL="171450" indent="-171450">
              <a:buFont typeface="Wingdings" panose="05000000000000000000" pitchFamily="2" charset="2"/>
              <a:buChar char="§"/>
            </a:pPr>
            <a:r>
              <a:rPr lang="de-DE" sz="1200" dirty="0" smtClean="0">
                <a:solidFill>
                  <a:prstClr val="black"/>
                </a:solidFill>
              </a:rPr>
              <a:t>Das M-Ressort synchronisiert seine durchgängigen </a:t>
            </a:r>
            <a:r>
              <a:rPr lang="de-DE" sz="1200" b="1" dirty="0" smtClean="0">
                <a:solidFill>
                  <a:prstClr val="black"/>
                </a:solidFill>
              </a:rPr>
              <a:t>Prozesse </a:t>
            </a:r>
            <a:r>
              <a:rPr lang="de-DE" sz="1200" dirty="0" smtClean="0">
                <a:solidFill>
                  <a:prstClr val="black"/>
                </a:solidFill>
              </a:rPr>
              <a:t>zur Überprüfung der kundenorientierten Qualität von Bauteilen bei BMW und beim Lieferanten mit den Meilensteinen zum Produktreifenachweis.</a:t>
            </a:r>
          </a:p>
          <a:p>
            <a:pPr marL="171450" indent="-171450">
              <a:buFont typeface="Wingdings" panose="05000000000000000000" pitchFamily="2" charset="2"/>
              <a:buChar char="§"/>
            </a:pPr>
            <a:r>
              <a:rPr lang="de-DE" sz="1200" dirty="0" smtClean="0">
                <a:solidFill>
                  <a:prstClr val="black"/>
                </a:solidFill>
              </a:rPr>
              <a:t>Um die Aussage einer </a:t>
            </a:r>
            <a:r>
              <a:rPr lang="de-DE" sz="1200" b="1" dirty="0" smtClean="0">
                <a:solidFill>
                  <a:prstClr val="black"/>
                </a:solidFill>
              </a:rPr>
              <a:t>Gesamtreife </a:t>
            </a:r>
            <a:r>
              <a:rPr lang="de-DE" sz="1200" dirty="0" smtClean="0">
                <a:solidFill>
                  <a:prstClr val="black"/>
                </a:solidFill>
              </a:rPr>
              <a:t>eines Fahrzeugprojektes zu treffen werden Produkt- und Prozessreife aggregiert und im Reifeindex gemeinsam dargestellt.</a:t>
            </a:r>
          </a:p>
          <a:p>
            <a:endParaRPr lang="en-US" dirty="0"/>
          </a:p>
        </p:txBody>
      </p:sp>
      <p:sp>
        <p:nvSpPr>
          <p:cNvPr id="4" name="Foliennummernplatzhalter 3"/>
          <p:cNvSpPr>
            <a:spLocks noGrp="1"/>
          </p:cNvSpPr>
          <p:nvPr>
            <p:ph type="sldNum" sz="quarter" idx="10"/>
          </p:nvPr>
        </p:nvSpPr>
        <p:spPr/>
        <p:txBody>
          <a:bodyPr/>
          <a:lstStyle/>
          <a:p>
            <a:fld id="{F67A725A-9256-4EC5-8CDB-4CC5D97770DD}" type="slidenum">
              <a:rPr lang="de-DE" smtClean="0"/>
              <a:pPr/>
              <a:t>15</a:t>
            </a:fld>
            <a:endParaRPr lang="de-DE"/>
          </a:p>
        </p:txBody>
      </p:sp>
    </p:spTree>
    <p:extLst>
      <p:ext uri="{BB962C8B-B14F-4D97-AF65-F5344CB8AC3E}">
        <p14:creationId xmlns="" xmlns:p14="http://schemas.microsoft.com/office/powerpoint/2010/main" val="15897607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smtClean="0"/>
              <a:t>Die </a:t>
            </a:r>
            <a:r>
              <a:rPr lang="de-DE" baseline="0" dirty="0" smtClean="0"/>
              <a:t>durchgängige Absicherung sieht deshalb vor, dass über alle Ebenen und Fachbereiche ein vergleichbarer Prozess angewendet wird, der dann auch von einer leistungsfähigen IT-Toolkette unterstützt werden kann. Der erste Prozessschritt beinhaltet eine ressortübergreifende Absicherungsplanung (virtuell und HW). Daraus lassen sich die Anforderungen an die Reife der Komponenten und Teilsysteme zu den jeweiligen Reifestufen ableiten. Und es wird möglich, die inhaltliche und zeitliche Stimmigkeit der Absicherungsaktivitäten zu beurteilen und die Absicherungskaskade über EMT zu optimieren. </a:t>
            </a:r>
          </a:p>
          <a:p>
            <a:endParaRPr lang="de-DE" baseline="0" dirty="0" smtClean="0"/>
          </a:p>
          <a:p>
            <a:r>
              <a:rPr lang="de-DE" i="1" baseline="0" dirty="0" smtClean="0"/>
              <a:t>So kann z.B. frühzeitig erkannt werden, falls die Absicherungsvorleistungen der Komponenten und Teilsysteme zu spät eingeplant sind, oder falls zum Zeitpunkt der Serienwerkzeugfreigaben nicht alle Absicherungsergebnisse vorliegen. Es kann gezielt nach Optionen gesucht werden, die Absicherungsschritte vom Gesamtfahrzeug auf die Teilsystemebene oder von der Hardware in die virtuelle Welt zu verlagern.</a:t>
            </a:r>
          </a:p>
          <a:p>
            <a:endParaRPr lang="de-DE" dirty="0" smtClean="0"/>
          </a:p>
          <a:p>
            <a:r>
              <a:rPr lang="de-DE" dirty="0" smtClean="0"/>
              <a:t>Im</a:t>
            </a:r>
            <a:r>
              <a:rPr lang="de-DE" baseline="0" dirty="0" smtClean="0"/>
              <a:t> zweiten Schritt wird nach der Beschaffung bzw. nach dem Zusammenbau die Qualität des Absicherungsträgers hinsichtlich der Absicherungstauglichkeit bewertet „ready for testing“. Hier leistet die QMT-Arbeit zur Sicherstellung der Versuchsteilequalität einen wesentlichen Beitrag. </a:t>
            </a:r>
          </a:p>
          <a:p>
            <a:endParaRPr lang="de-DE" baseline="0" dirty="0" smtClean="0"/>
          </a:p>
          <a:p>
            <a:r>
              <a:rPr lang="de-DE" i="1" baseline="0" dirty="0" smtClean="0"/>
              <a:t>Die Transparenz bzgl. der Qualität der Versuchsteile hilft uns später auch bei der Problemanalyse. Durch die Bewertung der Absicherungstauglichkeit wird klar, welche der geplanten Absicherungsprogramme bei Abweichungen von der geforderten Qualität betroffen sind und es kann frühzeitig reagiert werden und es wird vermieden, dass Absicherungsergebnisse wegen mangelnder Qualität oder veralteten Baustand der Absicherungsträger in Frage gestellt werden.</a:t>
            </a:r>
          </a:p>
          <a:p>
            <a:endParaRPr lang="de-DE" baseline="0" dirty="0" smtClean="0"/>
          </a:p>
          <a:p>
            <a:r>
              <a:rPr lang="de-DE" baseline="0" dirty="0" smtClean="0"/>
              <a:t>Nach Durchführung der Absicherungen werden im dritten Schritt im Rahmen der Ergebnisauswertung die geforderte Reife und die Absicherungsvorleistung nachgewiesen. Ziel muss es sein, nur reife Komponenten und Teilsysteme ins Gesamtfahrzeug zu integrieren. Und wir sollten Absicherungsergebnisse noch stärker als bisher zur systematischen Positiv-Bestätigung von Anforderungen nutzen, unterstützt durch eine bessere tooltechnische Vernetzung mit dem Anforderungsmanagement. Damit wir die Frage „wo stehen wir in der Absicherung“ umfassend beantworten können.</a:t>
            </a:r>
            <a:endParaRPr lang="de-DE" dirty="0"/>
          </a:p>
        </p:txBody>
      </p:sp>
      <p:sp>
        <p:nvSpPr>
          <p:cNvPr id="4" name="Foliennummernplatzhalter 3"/>
          <p:cNvSpPr>
            <a:spLocks noGrp="1"/>
          </p:cNvSpPr>
          <p:nvPr>
            <p:ph type="sldNum" sz="quarter" idx="10"/>
          </p:nvPr>
        </p:nvSpPr>
        <p:spPr/>
        <p:txBody>
          <a:bodyPr/>
          <a:lstStyle/>
          <a:p>
            <a:fld id="{F67A725A-9256-4EC5-8CDB-4CC5D97770DD}" type="slidenum">
              <a:rPr lang="de-DE" smtClean="0"/>
              <a:pPr/>
              <a:t>16</a:t>
            </a:fld>
            <a:endParaRPr lang="de-DE"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mit Bild, Headline 2-zeilig">
    <p:spTree>
      <p:nvGrpSpPr>
        <p:cNvPr id="1" name=""/>
        <p:cNvGrpSpPr/>
        <p:nvPr/>
      </p:nvGrpSpPr>
      <p:grpSpPr>
        <a:xfrm>
          <a:off x="0" y="0"/>
          <a:ext cx="0" cy="0"/>
          <a:chOff x="0" y="0"/>
          <a:chExt cx="0" cy="0"/>
        </a:xfrm>
      </p:grpSpPr>
      <p:graphicFrame>
        <p:nvGraphicFramePr>
          <p:cNvPr id="22" name="Objekt 21" hidden="1"/>
          <p:cNvGraphicFramePr>
            <a:graphicFrameLocks noChangeAspect="1"/>
          </p:cNvGraphicFramePr>
          <p:nvPr/>
        </p:nvGraphicFramePr>
        <p:xfrm>
          <a:off x="0" y="0"/>
          <a:ext cx="158750" cy="158750"/>
        </p:xfrm>
        <a:graphic>
          <a:graphicData uri="http://schemas.openxmlformats.org/presentationml/2006/ole">
            <p:oleObj spid="_x0000_s19458" name="think-cell Folie" r:id="rId3" imgW="360" imgH="360" progId="TCLayout.ActiveDocument.1">
              <p:embed/>
            </p:oleObj>
          </a:graphicData>
        </a:graphic>
      </p:graphicFrame>
      <p:sp>
        <p:nvSpPr>
          <p:cNvPr id="9" name="Textplatzhalter 8"/>
          <p:cNvSpPr>
            <a:spLocks noGrp="1"/>
          </p:cNvSpPr>
          <p:nvPr>
            <p:ph type="body" sz="quarter" idx="13" hasCustomPrompt="1"/>
          </p:nvPr>
        </p:nvSpPr>
        <p:spPr>
          <a:xfrm>
            <a:off x="456082" y="3724715"/>
            <a:ext cx="8218866" cy="916809"/>
          </a:xfrm>
          <a:prstGeom prst="rect">
            <a:avLst/>
          </a:prstGeom>
        </p:spPr>
        <p:txBody>
          <a:bodyPr lIns="0" tIns="0" rIns="0" bIns="0">
            <a:noAutofit/>
          </a:bodyPr>
          <a:lstStyle>
            <a:lvl1pPr marL="0" indent="0">
              <a:lnSpc>
                <a:spcPts val="4000"/>
              </a:lnSpc>
              <a:spcBef>
                <a:spcPts val="0"/>
              </a:spcBef>
              <a:buNone/>
              <a:defRPr sz="3600" b="1" cap="all" baseline="0">
                <a:solidFill>
                  <a:schemeClr val="bg2"/>
                </a:solidFill>
                <a:latin typeface="+mj-lt"/>
              </a:defRPr>
            </a:lvl1pPr>
          </a:lstStyle>
          <a:p>
            <a:pPr lvl="0"/>
            <a:r>
              <a:rPr lang="de-DE" dirty="0" err="1" smtClean="0"/>
              <a:t>titel</a:t>
            </a:r>
            <a:r>
              <a:rPr lang="de-DE" dirty="0" smtClean="0"/>
              <a:t> 2-zeilig DURCH KLICKEN BEARBEITEN</a:t>
            </a:r>
          </a:p>
        </p:txBody>
      </p:sp>
      <p:sp>
        <p:nvSpPr>
          <p:cNvPr id="11" name="Textplatzhalter 8"/>
          <p:cNvSpPr>
            <a:spLocks noGrp="1"/>
          </p:cNvSpPr>
          <p:nvPr>
            <p:ph type="body" sz="quarter" idx="14" hasCustomPrompt="1"/>
          </p:nvPr>
        </p:nvSpPr>
        <p:spPr>
          <a:xfrm>
            <a:off x="467566" y="4853838"/>
            <a:ext cx="8209709" cy="534059"/>
          </a:xfrm>
          <a:prstGeom prst="rect">
            <a:avLst/>
          </a:prstGeom>
        </p:spPr>
        <p:txBody>
          <a:bodyPr lIns="0" tIns="0" rIns="0" bIns="0"/>
          <a:lstStyle>
            <a:lvl1pPr marL="0" indent="0">
              <a:lnSpc>
                <a:spcPts val="2100"/>
              </a:lnSpc>
              <a:spcBef>
                <a:spcPts val="0"/>
              </a:spcBef>
              <a:buNone/>
              <a:defRPr sz="2000" b="1" cap="all" baseline="0">
                <a:latin typeface="+mj-lt"/>
              </a:defRPr>
            </a:lvl1pPr>
          </a:lstStyle>
          <a:p>
            <a:pPr lvl="0"/>
            <a:r>
              <a:rPr lang="de-DE" dirty="0" smtClean="0"/>
              <a:t>Subheadline durch klicken bearbeiten</a:t>
            </a:r>
          </a:p>
        </p:txBody>
      </p:sp>
      <p:sp>
        <p:nvSpPr>
          <p:cNvPr id="13" name="Textplatzhalter 24"/>
          <p:cNvSpPr>
            <a:spLocks noGrp="1"/>
          </p:cNvSpPr>
          <p:nvPr>
            <p:ph type="body" sz="quarter" idx="18" hasCustomPrompt="1"/>
          </p:nvPr>
        </p:nvSpPr>
        <p:spPr>
          <a:xfrm>
            <a:off x="467570" y="2851174"/>
            <a:ext cx="2508548" cy="319415"/>
          </a:xfrm>
          <a:prstGeom prst="rect">
            <a:avLst/>
          </a:prstGeom>
        </p:spPr>
        <p:txBody>
          <a:bodyPr lIns="0" tIns="0" rIns="0" bIns="0"/>
          <a:lstStyle>
            <a:lvl1pPr marL="0" indent="0">
              <a:buNone/>
              <a:defRPr sz="1100">
                <a:latin typeface="BMWTypeCondensedRegular" pitchFamily="34" charset="0"/>
                <a:ea typeface="BMW Type Global Pro Regular" pitchFamily="2" charset="0"/>
                <a:cs typeface="BMW Type Global Pro Regular" pitchFamily="2" charset="0"/>
              </a:defRPr>
            </a:lvl1pPr>
            <a:lvl2pPr>
              <a:defRPr sz="1700"/>
            </a:lvl2pPr>
            <a:lvl3pPr>
              <a:defRPr sz="1700"/>
            </a:lvl3pPr>
            <a:lvl4pPr>
              <a:defRPr sz="1700"/>
            </a:lvl4pPr>
            <a:lvl5pPr>
              <a:defRPr sz="1700"/>
            </a:lvl5pPr>
          </a:lstStyle>
          <a:p>
            <a:pPr lvl="0"/>
            <a:r>
              <a:rPr lang="de-DE" dirty="0" smtClean="0"/>
              <a:t>Abteilung und Datum eingeben</a:t>
            </a:r>
          </a:p>
        </p:txBody>
      </p:sp>
      <p:pic>
        <p:nvPicPr>
          <p:cNvPr id="16" name="Bild 8" descr="BMWMINIRR_5fbg Kopie.jpg"/>
          <p:cNvPicPr>
            <a:picLocks noChangeAspect="1"/>
          </p:cNvPicPr>
          <p:nvPr userDrawn="1"/>
        </p:nvPicPr>
        <p:blipFill>
          <a:blip r:embed="rId4" cstate="print">
            <a:extLst>
              <a:ext uri="{28A0092B-C50C-407E-A947-70E740481C1C}">
                <a14:useLocalDpi xmlns="" xmlns:a14="http://schemas.microsoft.com/office/drawing/2010/main" val="0"/>
              </a:ext>
            </a:extLst>
          </a:blip>
          <a:srcRect/>
          <a:stretch>
            <a:fillRect/>
          </a:stretch>
        </p:blipFill>
        <p:spPr bwMode="auto">
          <a:xfrm>
            <a:off x="6569927" y="6021288"/>
            <a:ext cx="2105021" cy="44160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7" name="Bild 7" descr="WortmarkeBMWGROUP Kopie.jpg"/>
          <p:cNvPicPr>
            <a:picLocks noChangeAspect="1"/>
          </p:cNvPicPr>
          <p:nvPr userDrawn="1"/>
        </p:nvPicPr>
        <p:blipFill>
          <a:blip r:embed="rId5" cstate="print">
            <a:extLst>
              <a:ext uri="{28A0092B-C50C-407E-A947-70E740481C1C}">
                <a14:useLocalDpi xmlns="" xmlns:a14="http://schemas.microsoft.com/office/drawing/2010/main" val="0"/>
              </a:ext>
            </a:extLst>
          </a:blip>
          <a:srcRect/>
          <a:stretch>
            <a:fillRect/>
          </a:stretch>
        </p:blipFill>
        <p:spPr bwMode="auto">
          <a:xfrm>
            <a:off x="461064" y="6031922"/>
            <a:ext cx="909281" cy="4320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 name="Bildplatzhalter 9" descr="Bild1.jpg"/>
          <p:cNvPicPr>
            <a:picLocks noChangeAspect="1"/>
          </p:cNvPicPr>
          <p:nvPr userDrawn="1"/>
        </p:nvPicPr>
        <p:blipFill>
          <a:blip r:embed="rId6" cstate="print"/>
          <a:srcRect l="875" r="875"/>
          <a:stretch>
            <a:fillRect/>
          </a:stretch>
        </p:blipFill>
        <p:spPr>
          <a:xfrm>
            <a:off x="-7883" y="0"/>
            <a:ext cx="9143999" cy="3211513"/>
          </a:xfrm>
          <a:custGeom>
            <a:avLst/>
            <a:gdLst>
              <a:gd name="connsiteX0" fmla="*/ 0 w 9144000"/>
              <a:gd name="connsiteY0" fmla="*/ 0 h 3795713"/>
              <a:gd name="connsiteX1" fmla="*/ 9144000 w 9144000"/>
              <a:gd name="connsiteY1" fmla="*/ 0 h 3795713"/>
              <a:gd name="connsiteX2" fmla="*/ 9144000 w 9144000"/>
              <a:gd name="connsiteY2" fmla="*/ 3795713 h 3795713"/>
              <a:gd name="connsiteX3" fmla="*/ 0 w 9144000"/>
              <a:gd name="connsiteY3" fmla="*/ 3795713 h 3795713"/>
              <a:gd name="connsiteX4" fmla="*/ 0 w 9144000"/>
              <a:gd name="connsiteY4" fmla="*/ 0 h 3795713"/>
              <a:gd name="connsiteX0" fmla="*/ 0 w 9144000"/>
              <a:gd name="connsiteY0" fmla="*/ 0 h 3795713"/>
              <a:gd name="connsiteX1" fmla="*/ 9144000 w 9144000"/>
              <a:gd name="connsiteY1" fmla="*/ 0 h 3795713"/>
              <a:gd name="connsiteX2" fmla="*/ 9144000 w 9144000"/>
              <a:gd name="connsiteY2" fmla="*/ 3795713 h 3795713"/>
              <a:gd name="connsiteX3" fmla="*/ 4571779 w 9144000"/>
              <a:gd name="connsiteY3" fmla="*/ 3791943 h 3795713"/>
              <a:gd name="connsiteX4" fmla="*/ 0 w 9144000"/>
              <a:gd name="connsiteY4" fmla="*/ 3795713 h 3795713"/>
              <a:gd name="connsiteX5" fmla="*/ 0 w 9144000"/>
              <a:gd name="connsiteY5" fmla="*/ 0 h 3795713"/>
              <a:gd name="connsiteX0" fmla="*/ 0 w 9144000"/>
              <a:gd name="connsiteY0" fmla="*/ 0 h 3795713"/>
              <a:gd name="connsiteX1" fmla="*/ 9144000 w 9144000"/>
              <a:gd name="connsiteY1" fmla="*/ 0 h 3795713"/>
              <a:gd name="connsiteX2" fmla="*/ 9144000 w 9144000"/>
              <a:gd name="connsiteY2" fmla="*/ 3795713 h 3795713"/>
              <a:gd name="connsiteX3" fmla="*/ 4571779 w 9144000"/>
              <a:gd name="connsiteY3" fmla="*/ 3791943 h 3795713"/>
              <a:gd name="connsiteX4" fmla="*/ 4242422 w 9144000"/>
              <a:gd name="connsiteY4" fmla="*/ 3787609 h 3795713"/>
              <a:gd name="connsiteX5" fmla="*/ 0 w 9144000"/>
              <a:gd name="connsiteY5" fmla="*/ 3795713 h 3795713"/>
              <a:gd name="connsiteX6" fmla="*/ 0 w 9144000"/>
              <a:gd name="connsiteY6" fmla="*/ 0 h 3795713"/>
              <a:gd name="connsiteX0" fmla="*/ 0 w 9144000"/>
              <a:gd name="connsiteY0" fmla="*/ 0 h 3795713"/>
              <a:gd name="connsiteX1" fmla="*/ 9144000 w 9144000"/>
              <a:gd name="connsiteY1" fmla="*/ 0 h 3795713"/>
              <a:gd name="connsiteX2" fmla="*/ 9144000 w 9144000"/>
              <a:gd name="connsiteY2" fmla="*/ 3795713 h 3795713"/>
              <a:gd name="connsiteX3" fmla="*/ 4571779 w 9144000"/>
              <a:gd name="connsiteY3" fmla="*/ 3791943 h 3795713"/>
              <a:gd name="connsiteX4" fmla="*/ 4576113 w 9144000"/>
              <a:gd name="connsiteY4" fmla="*/ 3527591 h 3795713"/>
              <a:gd name="connsiteX5" fmla="*/ 0 w 9144000"/>
              <a:gd name="connsiteY5" fmla="*/ 3795713 h 3795713"/>
              <a:gd name="connsiteX6" fmla="*/ 0 w 9144000"/>
              <a:gd name="connsiteY6" fmla="*/ 0 h 3795713"/>
              <a:gd name="connsiteX0" fmla="*/ 4334 w 9148334"/>
              <a:gd name="connsiteY0" fmla="*/ 0 h 3795713"/>
              <a:gd name="connsiteX1" fmla="*/ 9148334 w 9148334"/>
              <a:gd name="connsiteY1" fmla="*/ 0 h 3795713"/>
              <a:gd name="connsiteX2" fmla="*/ 9148334 w 9148334"/>
              <a:gd name="connsiteY2" fmla="*/ 3795713 h 3795713"/>
              <a:gd name="connsiteX3" fmla="*/ 4576113 w 9148334"/>
              <a:gd name="connsiteY3" fmla="*/ 3791943 h 3795713"/>
              <a:gd name="connsiteX4" fmla="*/ 4580447 w 9148334"/>
              <a:gd name="connsiteY4" fmla="*/ 3527591 h 3795713"/>
              <a:gd name="connsiteX5" fmla="*/ 0 w 9148334"/>
              <a:gd name="connsiteY5" fmla="*/ 3527027 h 3795713"/>
              <a:gd name="connsiteX6" fmla="*/ 4334 w 9148334"/>
              <a:gd name="connsiteY6" fmla="*/ 0 h 3795713"/>
              <a:gd name="connsiteX0" fmla="*/ 4334 w 9148334"/>
              <a:gd name="connsiteY0" fmla="*/ 0 h 3834806"/>
              <a:gd name="connsiteX1" fmla="*/ 9148334 w 9148334"/>
              <a:gd name="connsiteY1" fmla="*/ 0 h 3834806"/>
              <a:gd name="connsiteX2" fmla="*/ 9148334 w 9148334"/>
              <a:gd name="connsiteY2" fmla="*/ 3795713 h 3834806"/>
              <a:gd name="connsiteX3" fmla="*/ 4580875 w 9148334"/>
              <a:gd name="connsiteY3" fmla="*/ 3834806 h 3834806"/>
              <a:gd name="connsiteX4" fmla="*/ 4580447 w 9148334"/>
              <a:gd name="connsiteY4" fmla="*/ 3527591 h 3834806"/>
              <a:gd name="connsiteX5" fmla="*/ 0 w 9148334"/>
              <a:gd name="connsiteY5" fmla="*/ 3527027 h 3834806"/>
              <a:gd name="connsiteX6" fmla="*/ 4334 w 9148334"/>
              <a:gd name="connsiteY6" fmla="*/ 0 h 3834806"/>
              <a:gd name="connsiteX0" fmla="*/ 4334 w 9148334"/>
              <a:gd name="connsiteY0" fmla="*/ 0 h 3834806"/>
              <a:gd name="connsiteX1" fmla="*/ 9148334 w 9148334"/>
              <a:gd name="connsiteY1" fmla="*/ 0 h 3834806"/>
              <a:gd name="connsiteX2" fmla="*/ 9148334 w 9148334"/>
              <a:gd name="connsiteY2" fmla="*/ 3795713 h 3834806"/>
              <a:gd name="connsiteX3" fmla="*/ 4580875 w 9148334"/>
              <a:gd name="connsiteY3" fmla="*/ 3834806 h 3834806"/>
              <a:gd name="connsiteX4" fmla="*/ 4580447 w 9148334"/>
              <a:gd name="connsiteY4" fmla="*/ 3522829 h 3834806"/>
              <a:gd name="connsiteX5" fmla="*/ 0 w 9148334"/>
              <a:gd name="connsiteY5" fmla="*/ 3527027 h 3834806"/>
              <a:gd name="connsiteX6" fmla="*/ 4334 w 9148334"/>
              <a:gd name="connsiteY6" fmla="*/ 0 h 3834806"/>
              <a:gd name="connsiteX0" fmla="*/ 4334 w 9153096"/>
              <a:gd name="connsiteY0" fmla="*/ 0 h 3836195"/>
              <a:gd name="connsiteX1" fmla="*/ 9148334 w 9153096"/>
              <a:gd name="connsiteY1" fmla="*/ 0 h 3836195"/>
              <a:gd name="connsiteX2" fmla="*/ 9153096 w 9153096"/>
              <a:gd name="connsiteY2" fmla="*/ 3836195 h 3836195"/>
              <a:gd name="connsiteX3" fmla="*/ 4580875 w 9153096"/>
              <a:gd name="connsiteY3" fmla="*/ 3834806 h 3836195"/>
              <a:gd name="connsiteX4" fmla="*/ 4580447 w 9153096"/>
              <a:gd name="connsiteY4" fmla="*/ 3522829 h 3836195"/>
              <a:gd name="connsiteX5" fmla="*/ 0 w 9153096"/>
              <a:gd name="connsiteY5" fmla="*/ 3527027 h 3836195"/>
              <a:gd name="connsiteX6" fmla="*/ 4334 w 9153096"/>
              <a:gd name="connsiteY6" fmla="*/ 0 h 3836195"/>
              <a:gd name="connsiteX0" fmla="*/ 4334 w 9153096"/>
              <a:gd name="connsiteY0" fmla="*/ 0 h 3987206"/>
              <a:gd name="connsiteX1" fmla="*/ 9148334 w 9153096"/>
              <a:gd name="connsiteY1" fmla="*/ 0 h 3987206"/>
              <a:gd name="connsiteX2" fmla="*/ 9153096 w 9153096"/>
              <a:gd name="connsiteY2" fmla="*/ 3836195 h 3987206"/>
              <a:gd name="connsiteX3" fmla="*/ 4580875 w 9153096"/>
              <a:gd name="connsiteY3" fmla="*/ 3987206 h 3987206"/>
              <a:gd name="connsiteX4" fmla="*/ 4580447 w 9153096"/>
              <a:gd name="connsiteY4" fmla="*/ 3522829 h 3987206"/>
              <a:gd name="connsiteX5" fmla="*/ 0 w 9153096"/>
              <a:gd name="connsiteY5" fmla="*/ 3527027 h 3987206"/>
              <a:gd name="connsiteX6" fmla="*/ 4334 w 9153096"/>
              <a:gd name="connsiteY6" fmla="*/ 0 h 3987206"/>
              <a:gd name="connsiteX0" fmla="*/ 4334 w 9153096"/>
              <a:gd name="connsiteY0" fmla="*/ 0 h 3987206"/>
              <a:gd name="connsiteX1" fmla="*/ 9148334 w 9153096"/>
              <a:gd name="connsiteY1" fmla="*/ 0 h 3987206"/>
              <a:gd name="connsiteX2" fmla="*/ 9153096 w 9153096"/>
              <a:gd name="connsiteY2" fmla="*/ 3983832 h 3987206"/>
              <a:gd name="connsiteX3" fmla="*/ 4580875 w 9153096"/>
              <a:gd name="connsiteY3" fmla="*/ 3987206 h 3987206"/>
              <a:gd name="connsiteX4" fmla="*/ 4580447 w 9153096"/>
              <a:gd name="connsiteY4" fmla="*/ 3522829 h 3987206"/>
              <a:gd name="connsiteX5" fmla="*/ 0 w 9153096"/>
              <a:gd name="connsiteY5" fmla="*/ 3527027 h 3987206"/>
              <a:gd name="connsiteX6" fmla="*/ 4334 w 9153096"/>
              <a:gd name="connsiteY6" fmla="*/ 0 h 3987206"/>
              <a:gd name="connsiteX0" fmla="*/ 4334 w 9153096"/>
              <a:gd name="connsiteY0" fmla="*/ 0 h 3984825"/>
              <a:gd name="connsiteX1" fmla="*/ 9148334 w 9153096"/>
              <a:gd name="connsiteY1" fmla="*/ 0 h 3984825"/>
              <a:gd name="connsiteX2" fmla="*/ 9153096 w 9153096"/>
              <a:gd name="connsiteY2" fmla="*/ 3983832 h 3984825"/>
              <a:gd name="connsiteX3" fmla="*/ 4580875 w 9153096"/>
              <a:gd name="connsiteY3" fmla="*/ 3984825 h 3984825"/>
              <a:gd name="connsiteX4" fmla="*/ 4580447 w 9153096"/>
              <a:gd name="connsiteY4" fmla="*/ 3522829 h 3984825"/>
              <a:gd name="connsiteX5" fmla="*/ 0 w 9153096"/>
              <a:gd name="connsiteY5" fmla="*/ 3527027 h 3984825"/>
              <a:gd name="connsiteX6" fmla="*/ 4334 w 9153096"/>
              <a:gd name="connsiteY6" fmla="*/ 0 h 3984825"/>
              <a:gd name="connsiteX0" fmla="*/ 4334 w 9153096"/>
              <a:gd name="connsiteY0" fmla="*/ 0 h 3984825"/>
              <a:gd name="connsiteX1" fmla="*/ 9148334 w 9153096"/>
              <a:gd name="connsiteY1" fmla="*/ 0 h 3984825"/>
              <a:gd name="connsiteX2" fmla="*/ 9153096 w 9153096"/>
              <a:gd name="connsiteY2" fmla="*/ 3983832 h 3984825"/>
              <a:gd name="connsiteX3" fmla="*/ 4580875 w 9153096"/>
              <a:gd name="connsiteY3" fmla="*/ 3984825 h 3984825"/>
              <a:gd name="connsiteX4" fmla="*/ 4583331 w 9153096"/>
              <a:gd name="connsiteY4" fmla="*/ 3442062 h 3984825"/>
              <a:gd name="connsiteX5" fmla="*/ 0 w 9153096"/>
              <a:gd name="connsiteY5" fmla="*/ 3527027 h 3984825"/>
              <a:gd name="connsiteX6" fmla="*/ 4334 w 9153096"/>
              <a:gd name="connsiteY6" fmla="*/ 0 h 3984825"/>
              <a:gd name="connsiteX0" fmla="*/ 4334 w 9153096"/>
              <a:gd name="connsiteY0" fmla="*/ 0 h 3984825"/>
              <a:gd name="connsiteX1" fmla="*/ 9148334 w 9153096"/>
              <a:gd name="connsiteY1" fmla="*/ 0 h 3984825"/>
              <a:gd name="connsiteX2" fmla="*/ 9153096 w 9153096"/>
              <a:gd name="connsiteY2" fmla="*/ 3983832 h 3984825"/>
              <a:gd name="connsiteX3" fmla="*/ 4580875 w 9153096"/>
              <a:gd name="connsiteY3" fmla="*/ 3984825 h 3984825"/>
              <a:gd name="connsiteX4" fmla="*/ 4583331 w 9153096"/>
              <a:gd name="connsiteY4" fmla="*/ 3442062 h 3984825"/>
              <a:gd name="connsiteX5" fmla="*/ 0 w 9153096"/>
              <a:gd name="connsiteY5" fmla="*/ 3443375 h 3984825"/>
              <a:gd name="connsiteX6" fmla="*/ 4334 w 9153096"/>
              <a:gd name="connsiteY6" fmla="*/ 0 h 3984825"/>
              <a:gd name="connsiteX0" fmla="*/ 142 w 9148904"/>
              <a:gd name="connsiteY0" fmla="*/ 0 h 3984825"/>
              <a:gd name="connsiteX1" fmla="*/ 9144142 w 9148904"/>
              <a:gd name="connsiteY1" fmla="*/ 0 h 3984825"/>
              <a:gd name="connsiteX2" fmla="*/ 9148904 w 9148904"/>
              <a:gd name="connsiteY2" fmla="*/ 3983832 h 3984825"/>
              <a:gd name="connsiteX3" fmla="*/ 4576683 w 9148904"/>
              <a:gd name="connsiteY3" fmla="*/ 3984825 h 3984825"/>
              <a:gd name="connsiteX4" fmla="*/ 4579139 w 9148904"/>
              <a:gd name="connsiteY4" fmla="*/ 3442062 h 3984825"/>
              <a:gd name="connsiteX5" fmla="*/ 7346 w 9148904"/>
              <a:gd name="connsiteY5" fmla="*/ 3443375 h 3984825"/>
              <a:gd name="connsiteX6" fmla="*/ 142 w 9148904"/>
              <a:gd name="connsiteY6" fmla="*/ 0 h 3984825"/>
              <a:gd name="connsiteX0" fmla="*/ 15872 w 9141558"/>
              <a:gd name="connsiteY0" fmla="*/ 17308 h 3984825"/>
              <a:gd name="connsiteX1" fmla="*/ 9136796 w 9141558"/>
              <a:gd name="connsiteY1" fmla="*/ 0 h 3984825"/>
              <a:gd name="connsiteX2" fmla="*/ 9141558 w 9141558"/>
              <a:gd name="connsiteY2" fmla="*/ 3983832 h 3984825"/>
              <a:gd name="connsiteX3" fmla="*/ 4569337 w 9141558"/>
              <a:gd name="connsiteY3" fmla="*/ 3984825 h 3984825"/>
              <a:gd name="connsiteX4" fmla="*/ 4571793 w 9141558"/>
              <a:gd name="connsiteY4" fmla="*/ 3442062 h 3984825"/>
              <a:gd name="connsiteX5" fmla="*/ 0 w 9141558"/>
              <a:gd name="connsiteY5" fmla="*/ 3443375 h 3984825"/>
              <a:gd name="connsiteX6" fmla="*/ 15872 w 9141558"/>
              <a:gd name="connsiteY6" fmla="*/ 17308 h 3984825"/>
              <a:gd name="connsiteX0" fmla="*/ 192 w 9146070"/>
              <a:gd name="connsiteY0" fmla="*/ 1 h 3984825"/>
              <a:gd name="connsiteX1" fmla="*/ 9141308 w 9146070"/>
              <a:gd name="connsiteY1" fmla="*/ 0 h 3984825"/>
              <a:gd name="connsiteX2" fmla="*/ 9146070 w 9146070"/>
              <a:gd name="connsiteY2" fmla="*/ 3983832 h 3984825"/>
              <a:gd name="connsiteX3" fmla="*/ 4573849 w 9146070"/>
              <a:gd name="connsiteY3" fmla="*/ 3984825 h 3984825"/>
              <a:gd name="connsiteX4" fmla="*/ 4576305 w 9146070"/>
              <a:gd name="connsiteY4" fmla="*/ 3442062 h 3984825"/>
              <a:gd name="connsiteX5" fmla="*/ 4512 w 9146070"/>
              <a:gd name="connsiteY5" fmla="*/ 3443375 h 3984825"/>
              <a:gd name="connsiteX6" fmla="*/ 192 w 9146070"/>
              <a:gd name="connsiteY6" fmla="*/ 1 h 3984825"/>
              <a:gd name="connsiteX0" fmla="*/ 299 w 9146177"/>
              <a:gd name="connsiteY0" fmla="*/ 1 h 3984825"/>
              <a:gd name="connsiteX1" fmla="*/ 9141415 w 9146177"/>
              <a:gd name="connsiteY1" fmla="*/ 0 h 3984825"/>
              <a:gd name="connsiteX2" fmla="*/ 9146177 w 9146177"/>
              <a:gd name="connsiteY2" fmla="*/ 3983832 h 3984825"/>
              <a:gd name="connsiteX3" fmla="*/ 4573956 w 9146177"/>
              <a:gd name="connsiteY3" fmla="*/ 3984825 h 3984825"/>
              <a:gd name="connsiteX4" fmla="*/ 4576412 w 9146177"/>
              <a:gd name="connsiteY4" fmla="*/ 3442062 h 3984825"/>
              <a:gd name="connsiteX5" fmla="*/ 1734 w 9146177"/>
              <a:gd name="connsiteY5" fmla="*/ 3443375 h 3984825"/>
              <a:gd name="connsiteX6" fmla="*/ 299 w 9146177"/>
              <a:gd name="connsiteY6" fmla="*/ 1 h 3984825"/>
              <a:gd name="connsiteX0" fmla="*/ 299 w 9147550"/>
              <a:gd name="connsiteY0" fmla="*/ 2885 h 3987709"/>
              <a:gd name="connsiteX1" fmla="*/ 9147184 w 9147550"/>
              <a:gd name="connsiteY1" fmla="*/ 0 h 3987709"/>
              <a:gd name="connsiteX2" fmla="*/ 9146177 w 9147550"/>
              <a:gd name="connsiteY2" fmla="*/ 3986716 h 3987709"/>
              <a:gd name="connsiteX3" fmla="*/ 4573956 w 9147550"/>
              <a:gd name="connsiteY3" fmla="*/ 3987709 h 3987709"/>
              <a:gd name="connsiteX4" fmla="*/ 4576412 w 9147550"/>
              <a:gd name="connsiteY4" fmla="*/ 3444946 h 3987709"/>
              <a:gd name="connsiteX5" fmla="*/ 1734 w 9147550"/>
              <a:gd name="connsiteY5" fmla="*/ 3446259 h 3987709"/>
              <a:gd name="connsiteX6" fmla="*/ 299 w 9147550"/>
              <a:gd name="connsiteY6" fmla="*/ 2885 h 3987709"/>
              <a:gd name="connsiteX0" fmla="*/ 299 w 9147550"/>
              <a:gd name="connsiteY0" fmla="*/ 0 h 4046239"/>
              <a:gd name="connsiteX1" fmla="*/ 9147184 w 9147550"/>
              <a:gd name="connsiteY1" fmla="*/ 58530 h 4046239"/>
              <a:gd name="connsiteX2" fmla="*/ 9146177 w 9147550"/>
              <a:gd name="connsiteY2" fmla="*/ 4045246 h 4046239"/>
              <a:gd name="connsiteX3" fmla="*/ 4573956 w 9147550"/>
              <a:gd name="connsiteY3" fmla="*/ 4046239 h 4046239"/>
              <a:gd name="connsiteX4" fmla="*/ 4576412 w 9147550"/>
              <a:gd name="connsiteY4" fmla="*/ 3503476 h 4046239"/>
              <a:gd name="connsiteX5" fmla="*/ 1734 w 9147550"/>
              <a:gd name="connsiteY5" fmla="*/ 3504789 h 4046239"/>
              <a:gd name="connsiteX6" fmla="*/ 299 w 9147550"/>
              <a:gd name="connsiteY6" fmla="*/ 0 h 4046239"/>
              <a:gd name="connsiteX0" fmla="*/ 299 w 9147550"/>
              <a:gd name="connsiteY0" fmla="*/ 0 h 4046239"/>
              <a:gd name="connsiteX1" fmla="*/ 9147184 w 9147550"/>
              <a:gd name="connsiteY1" fmla="*/ 58530 h 4046239"/>
              <a:gd name="connsiteX2" fmla="*/ 9146177 w 9147550"/>
              <a:gd name="connsiteY2" fmla="*/ 4045246 h 4046239"/>
              <a:gd name="connsiteX3" fmla="*/ 4573956 w 9147550"/>
              <a:gd name="connsiteY3" fmla="*/ 4046239 h 4046239"/>
              <a:gd name="connsiteX4" fmla="*/ 4576412 w 9147550"/>
              <a:gd name="connsiteY4" fmla="*/ 3503476 h 4046239"/>
              <a:gd name="connsiteX5" fmla="*/ 1734 w 9147550"/>
              <a:gd name="connsiteY5" fmla="*/ 3504789 h 4046239"/>
              <a:gd name="connsiteX6" fmla="*/ 299 w 9147550"/>
              <a:gd name="connsiteY6" fmla="*/ 0 h 4046239"/>
              <a:gd name="connsiteX0" fmla="*/ 299 w 9147550"/>
              <a:gd name="connsiteY0" fmla="*/ 0 h 4046239"/>
              <a:gd name="connsiteX1" fmla="*/ 9147184 w 9147550"/>
              <a:gd name="connsiteY1" fmla="*/ 58530 h 4046239"/>
              <a:gd name="connsiteX2" fmla="*/ 9146177 w 9147550"/>
              <a:gd name="connsiteY2" fmla="*/ 4045246 h 4046239"/>
              <a:gd name="connsiteX3" fmla="*/ 4573956 w 9147550"/>
              <a:gd name="connsiteY3" fmla="*/ 4046239 h 4046239"/>
              <a:gd name="connsiteX4" fmla="*/ 4576412 w 9147550"/>
              <a:gd name="connsiteY4" fmla="*/ 3503476 h 4046239"/>
              <a:gd name="connsiteX5" fmla="*/ 1734 w 9147550"/>
              <a:gd name="connsiteY5" fmla="*/ 3504789 h 4046239"/>
              <a:gd name="connsiteX6" fmla="*/ 299 w 9147550"/>
              <a:gd name="connsiteY6" fmla="*/ 0 h 4046239"/>
              <a:gd name="connsiteX0" fmla="*/ 299 w 9147550"/>
              <a:gd name="connsiteY0" fmla="*/ 0 h 4053063"/>
              <a:gd name="connsiteX1" fmla="*/ 9147184 w 9147550"/>
              <a:gd name="connsiteY1" fmla="*/ 65354 h 4053063"/>
              <a:gd name="connsiteX2" fmla="*/ 9146177 w 9147550"/>
              <a:gd name="connsiteY2" fmla="*/ 4052070 h 4053063"/>
              <a:gd name="connsiteX3" fmla="*/ 4573956 w 9147550"/>
              <a:gd name="connsiteY3" fmla="*/ 4053063 h 4053063"/>
              <a:gd name="connsiteX4" fmla="*/ 4576412 w 9147550"/>
              <a:gd name="connsiteY4" fmla="*/ 3510300 h 4053063"/>
              <a:gd name="connsiteX5" fmla="*/ 1734 w 9147550"/>
              <a:gd name="connsiteY5" fmla="*/ 3511613 h 4053063"/>
              <a:gd name="connsiteX6" fmla="*/ 299 w 9147550"/>
              <a:gd name="connsiteY6" fmla="*/ 0 h 4053063"/>
              <a:gd name="connsiteX0" fmla="*/ 299 w 9147550"/>
              <a:gd name="connsiteY0" fmla="*/ 9709 h 4062772"/>
              <a:gd name="connsiteX1" fmla="*/ 9147184 w 9147550"/>
              <a:gd name="connsiteY1" fmla="*/ 0 h 4062772"/>
              <a:gd name="connsiteX2" fmla="*/ 9146177 w 9147550"/>
              <a:gd name="connsiteY2" fmla="*/ 4061779 h 4062772"/>
              <a:gd name="connsiteX3" fmla="*/ 4573956 w 9147550"/>
              <a:gd name="connsiteY3" fmla="*/ 4062772 h 4062772"/>
              <a:gd name="connsiteX4" fmla="*/ 4576412 w 9147550"/>
              <a:gd name="connsiteY4" fmla="*/ 3520009 h 4062772"/>
              <a:gd name="connsiteX5" fmla="*/ 1734 w 9147550"/>
              <a:gd name="connsiteY5" fmla="*/ 3521322 h 4062772"/>
              <a:gd name="connsiteX6" fmla="*/ 299 w 9147550"/>
              <a:gd name="connsiteY6" fmla="*/ 9709 h 4062772"/>
              <a:gd name="connsiteX0" fmla="*/ 299 w 9147550"/>
              <a:gd name="connsiteY0" fmla="*/ 0 h 4116437"/>
              <a:gd name="connsiteX1" fmla="*/ 9147184 w 9147550"/>
              <a:gd name="connsiteY1" fmla="*/ 53665 h 4116437"/>
              <a:gd name="connsiteX2" fmla="*/ 9146177 w 9147550"/>
              <a:gd name="connsiteY2" fmla="*/ 4115444 h 4116437"/>
              <a:gd name="connsiteX3" fmla="*/ 4573956 w 9147550"/>
              <a:gd name="connsiteY3" fmla="*/ 4116437 h 4116437"/>
              <a:gd name="connsiteX4" fmla="*/ 4576412 w 9147550"/>
              <a:gd name="connsiteY4" fmla="*/ 3573674 h 4116437"/>
              <a:gd name="connsiteX5" fmla="*/ 1734 w 9147550"/>
              <a:gd name="connsiteY5" fmla="*/ 3574987 h 4116437"/>
              <a:gd name="connsiteX6" fmla="*/ 299 w 9147550"/>
              <a:gd name="connsiteY6" fmla="*/ 0 h 4116437"/>
              <a:gd name="connsiteX0" fmla="*/ 299 w 9147550"/>
              <a:gd name="connsiteY0" fmla="*/ 5183 h 4121620"/>
              <a:gd name="connsiteX1" fmla="*/ 9147184 w 9147550"/>
              <a:gd name="connsiteY1" fmla="*/ 0 h 4121620"/>
              <a:gd name="connsiteX2" fmla="*/ 9146177 w 9147550"/>
              <a:gd name="connsiteY2" fmla="*/ 4120627 h 4121620"/>
              <a:gd name="connsiteX3" fmla="*/ 4573956 w 9147550"/>
              <a:gd name="connsiteY3" fmla="*/ 4121620 h 4121620"/>
              <a:gd name="connsiteX4" fmla="*/ 4576412 w 9147550"/>
              <a:gd name="connsiteY4" fmla="*/ 3578857 h 4121620"/>
              <a:gd name="connsiteX5" fmla="*/ 1734 w 9147550"/>
              <a:gd name="connsiteY5" fmla="*/ 3580170 h 4121620"/>
              <a:gd name="connsiteX6" fmla="*/ 299 w 9147550"/>
              <a:gd name="connsiteY6" fmla="*/ 5183 h 4121620"/>
              <a:gd name="connsiteX0" fmla="*/ 299 w 9147550"/>
              <a:gd name="connsiteY0" fmla="*/ 657 h 4117094"/>
              <a:gd name="connsiteX1" fmla="*/ 9147184 w 9147550"/>
              <a:gd name="connsiteY1" fmla="*/ 0 h 4117094"/>
              <a:gd name="connsiteX2" fmla="*/ 9146177 w 9147550"/>
              <a:gd name="connsiteY2" fmla="*/ 4116101 h 4117094"/>
              <a:gd name="connsiteX3" fmla="*/ 4573956 w 9147550"/>
              <a:gd name="connsiteY3" fmla="*/ 4117094 h 4117094"/>
              <a:gd name="connsiteX4" fmla="*/ 4576412 w 9147550"/>
              <a:gd name="connsiteY4" fmla="*/ 3574331 h 4117094"/>
              <a:gd name="connsiteX5" fmla="*/ 1734 w 9147550"/>
              <a:gd name="connsiteY5" fmla="*/ 3575644 h 4117094"/>
              <a:gd name="connsiteX6" fmla="*/ 299 w 9147550"/>
              <a:gd name="connsiteY6" fmla="*/ 657 h 4117094"/>
              <a:gd name="connsiteX0" fmla="*/ 299 w 9147550"/>
              <a:gd name="connsiteY0" fmla="*/ 657 h 4117094"/>
              <a:gd name="connsiteX1" fmla="*/ 9147184 w 9147550"/>
              <a:gd name="connsiteY1" fmla="*/ 0 h 4117094"/>
              <a:gd name="connsiteX2" fmla="*/ 9146177 w 9147550"/>
              <a:gd name="connsiteY2" fmla="*/ 4116101 h 4117094"/>
              <a:gd name="connsiteX3" fmla="*/ 4573956 w 9147550"/>
              <a:gd name="connsiteY3" fmla="*/ 4117094 h 4117094"/>
              <a:gd name="connsiteX4" fmla="*/ 4574006 w 9147550"/>
              <a:gd name="connsiteY4" fmla="*/ 3576738 h 4117094"/>
              <a:gd name="connsiteX5" fmla="*/ 1734 w 9147550"/>
              <a:gd name="connsiteY5" fmla="*/ 3575644 h 4117094"/>
              <a:gd name="connsiteX6" fmla="*/ 299 w 9147550"/>
              <a:gd name="connsiteY6" fmla="*/ 657 h 4117094"/>
              <a:gd name="connsiteX0" fmla="*/ 299 w 9147550"/>
              <a:gd name="connsiteY0" fmla="*/ 682144 h 4117094"/>
              <a:gd name="connsiteX1" fmla="*/ 9147184 w 9147550"/>
              <a:gd name="connsiteY1" fmla="*/ 0 h 4117094"/>
              <a:gd name="connsiteX2" fmla="*/ 9146177 w 9147550"/>
              <a:gd name="connsiteY2" fmla="*/ 4116101 h 4117094"/>
              <a:gd name="connsiteX3" fmla="*/ 4573956 w 9147550"/>
              <a:gd name="connsiteY3" fmla="*/ 4117094 h 4117094"/>
              <a:gd name="connsiteX4" fmla="*/ 4574006 w 9147550"/>
              <a:gd name="connsiteY4" fmla="*/ 3576738 h 4117094"/>
              <a:gd name="connsiteX5" fmla="*/ 1734 w 9147550"/>
              <a:gd name="connsiteY5" fmla="*/ 3575644 h 4117094"/>
              <a:gd name="connsiteX6" fmla="*/ 299 w 9147550"/>
              <a:gd name="connsiteY6" fmla="*/ 682144 h 4117094"/>
              <a:gd name="connsiteX0" fmla="*/ 299 w 9155947"/>
              <a:gd name="connsiteY0" fmla="*/ 26537 h 3461487"/>
              <a:gd name="connsiteX1" fmla="*/ 9155811 w 9155947"/>
              <a:gd name="connsiteY1" fmla="*/ 0 h 3461487"/>
              <a:gd name="connsiteX2" fmla="*/ 9146177 w 9155947"/>
              <a:gd name="connsiteY2" fmla="*/ 3460494 h 3461487"/>
              <a:gd name="connsiteX3" fmla="*/ 4573956 w 9155947"/>
              <a:gd name="connsiteY3" fmla="*/ 3461487 h 3461487"/>
              <a:gd name="connsiteX4" fmla="*/ 4574006 w 9155947"/>
              <a:gd name="connsiteY4" fmla="*/ 2921131 h 3461487"/>
              <a:gd name="connsiteX5" fmla="*/ 1734 w 9155947"/>
              <a:gd name="connsiteY5" fmla="*/ 2920037 h 3461487"/>
              <a:gd name="connsiteX6" fmla="*/ 299 w 9155947"/>
              <a:gd name="connsiteY6" fmla="*/ 26537 h 3461487"/>
              <a:gd name="connsiteX0" fmla="*/ 299 w 9155947"/>
              <a:gd name="connsiteY0" fmla="*/ 0 h 3676489"/>
              <a:gd name="connsiteX1" fmla="*/ 9155811 w 9155947"/>
              <a:gd name="connsiteY1" fmla="*/ 215002 h 3676489"/>
              <a:gd name="connsiteX2" fmla="*/ 9146177 w 9155947"/>
              <a:gd name="connsiteY2" fmla="*/ 3675496 h 3676489"/>
              <a:gd name="connsiteX3" fmla="*/ 4573956 w 9155947"/>
              <a:gd name="connsiteY3" fmla="*/ 3676489 h 3676489"/>
              <a:gd name="connsiteX4" fmla="*/ 4574006 w 9155947"/>
              <a:gd name="connsiteY4" fmla="*/ 3136133 h 3676489"/>
              <a:gd name="connsiteX5" fmla="*/ 1734 w 9155947"/>
              <a:gd name="connsiteY5" fmla="*/ 3135039 h 3676489"/>
              <a:gd name="connsiteX6" fmla="*/ 299 w 9155947"/>
              <a:gd name="connsiteY6" fmla="*/ 0 h 3676489"/>
              <a:gd name="connsiteX0" fmla="*/ 299 w 9155947"/>
              <a:gd name="connsiteY0" fmla="*/ 0 h 3693742"/>
              <a:gd name="connsiteX1" fmla="*/ 9155811 w 9155947"/>
              <a:gd name="connsiteY1" fmla="*/ 232255 h 3693742"/>
              <a:gd name="connsiteX2" fmla="*/ 9146177 w 9155947"/>
              <a:gd name="connsiteY2" fmla="*/ 3692749 h 3693742"/>
              <a:gd name="connsiteX3" fmla="*/ 4573956 w 9155947"/>
              <a:gd name="connsiteY3" fmla="*/ 3693742 h 3693742"/>
              <a:gd name="connsiteX4" fmla="*/ 4574006 w 9155947"/>
              <a:gd name="connsiteY4" fmla="*/ 3153386 h 3693742"/>
              <a:gd name="connsiteX5" fmla="*/ 1734 w 9155947"/>
              <a:gd name="connsiteY5" fmla="*/ 3152292 h 3693742"/>
              <a:gd name="connsiteX6" fmla="*/ 299 w 9155947"/>
              <a:gd name="connsiteY6" fmla="*/ 0 h 3693742"/>
              <a:gd name="connsiteX0" fmla="*/ 7191 w 9154213"/>
              <a:gd name="connsiteY0" fmla="*/ 0 h 3685116"/>
              <a:gd name="connsiteX1" fmla="*/ 9154077 w 9154213"/>
              <a:gd name="connsiteY1" fmla="*/ 223629 h 3685116"/>
              <a:gd name="connsiteX2" fmla="*/ 9144443 w 9154213"/>
              <a:gd name="connsiteY2" fmla="*/ 3684123 h 3685116"/>
              <a:gd name="connsiteX3" fmla="*/ 4572222 w 9154213"/>
              <a:gd name="connsiteY3" fmla="*/ 3685116 h 3685116"/>
              <a:gd name="connsiteX4" fmla="*/ 4572272 w 9154213"/>
              <a:gd name="connsiteY4" fmla="*/ 3144760 h 3685116"/>
              <a:gd name="connsiteX5" fmla="*/ 0 w 9154213"/>
              <a:gd name="connsiteY5" fmla="*/ 3143666 h 3685116"/>
              <a:gd name="connsiteX6" fmla="*/ 7191 w 9154213"/>
              <a:gd name="connsiteY6" fmla="*/ 0 h 3685116"/>
              <a:gd name="connsiteX0" fmla="*/ 7191 w 9154213"/>
              <a:gd name="connsiteY0" fmla="*/ 0 h 3685116"/>
              <a:gd name="connsiteX1" fmla="*/ 9154077 w 9154213"/>
              <a:gd name="connsiteY1" fmla="*/ 16595 h 3685116"/>
              <a:gd name="connsiteX2" fmla="*/ 9144443 w 9154213"/>
              <a:gd name="connsiteY2" fmla="*/ 3684123 h 3685116"/>
              <a:gd name="connsiteX3" fmla="*/ 4572222 w 9154213"/>
              <a:gd name="connsiteY3" fmla="*/ 3685116 h 3685116"/>
              <a:gd name="connsiteX4" fmla="*/ 4572272 w 9154213"/>
              <a:gd name="connsiteY4" fmla="*/ 3144760 h 3685116"/>
              <a:gd name="connsiteX5" fmla="*/ 0 w 9154213"/>
              <a:gd name="connsiteY5" fmla="*/ 3143666 h 3685116"/>
              <a:gd name="connsiteX6" fmla="*/ 7191 w 9154213"/>
              <a:gd name="connsiteY6" fmla="*/ 0 h 3685116"/>
              <a:gd name="connsiteX0" fmla="*/ 7191 w 9154213"/>
              <a:gd name="connsiteY0" fmla="*/ 0 h 3685116"/>
              <a:gd name="connsiteX1" fmla="*/ 9154077 w 9154213"/>
              <a:gd name="connsiteY1" fmla="*/ 16595 h 3685116"/>
              <a:gd name="connsiteX2" fmla="*/ 9144443 w 9154213"/>
              <a:gd name="connsiteY2" fmla="*/ 3684123 h 3685116"/>
              <a:gd name="connsiteX3" fmla="*/ 4572222 w 9154213"/>
              <a:gd name="connsiteY3" fmla="*/ 3685116 h 3685116"/>
              <a:gd name="connsiteX4" fmla="*/ 4572272 w 9154213"/>
              <a:gd name="connsiteY4" fmla="*/ 3144760 h 3685116"/>
              <a:gd name="connsiteX5" fmla="*/ 0 w 9154213"/>
              <a:gd name="connsiteY5" fmla="*/ 3151830 h 3685116"/>
              <a:gd name="connsiteX6" fmla="*/ 7191 w 9154213"/>
              <a:gd name="connsiteY6" fmla="*/ 0 h 3685116"/>
              <a:gd name="connsiteX0" fmla="*/ 7191 w 9154213"/>
              <a:gd name="connsiteY0" fmla="*/ 0 h 3685116"/>
              <a:gd name="connsiteX1" fmla="*/ 9154077 w 9154213"/>
              <a:gd name="connsiteY1" fmla="*/ 16595 h 3685116"/>
              <a:gd name="connsiteX2" fmla="*/ 9144443 w 9154213"/>
              <a:gd name="connsiteY2" fmla="*/ 3684123 h 3685116"/>
              <a:gd name="connsiteX3" fmla="*/ 4572222 w 9154213"/>
              <a:gd name="connsiteY3" fmla="*/ 3685116 h 3685116"/>
              <a:gd name="connsiteX4" fmla="*/ 4572272 w 9154213"/>
              <a:gd name="connsiteY4" fmla="*/ 3152924 h 3685116"/>
              <a:gd name="connsiteX5" fmla="*/ 0 w 9154213"/>
              <a:gd name="connsiteY5" fmla="*/ 3151830 h 3685116"/>
              <a:gd name="connsiteX6" fmla="*/ 7191 w 9154213"/>
              <a:gd name="connsiteY6" fmla="*/ 0 h 3685116"/>
              <a:gd name="connsiteX0" fmla="*/ 7191 w 9154213"/>
              <a:gd name="connsiteY0" fmla="*/ 0 h 3734102"/>
              <a:gd name="connsiteX1" fmla="*/ 9154077 w 9154213"/>
              <a:gd name="connsiteY1" fmla="*/ 16595 h 3734102"/>
              <a:gd name="connsiteX2" fmla="*/ 9144443 w 9154213"/>
              <a:gd name="connsiteY2" fmla="*/ 3684123 h 3734102"/>
              <a:gd name="connsiteX3" fmla="*/ 4572222 w 9154213"/>
              <a:gd name="connsiteY3" fmla="*/ 3734102 h 3734102"/>
              <a:gd name="connsiteX4" fmla="*/ 4572272 w 9154213"/>
              <a:gd name="connsiteY4" fmla="*/ 3152924 h 3734102"/>
              <a:gd name="connsiteX5" fmla="*/ 0 w 9154213"/>
              <a:gd name="connsiteY5" fmla="*/ 3151830 h 3734102"/>
              <a:gd name="connsiteX6" fmla="*/ 7191 w 9154213"/>
              <a:gd name="connsiteY6" fmla="*/ 0 h 3734102"/>
              <a:gd name="connsiteX0" fmla="*/ 7191 w 9154247"/>
              <a:gd name="connsiteY0" fmla="*/ 0 h 3734102"/>
              <a:gd name="connsiteX1" fmla="*/ 9154077 w 9154247"/>
              <a:gd name="connsiteY1" fmla="*/ 16595 h 3734102"/>
              <a:gd name="connsiteX2" fmla="*/ 9147164 w 9154247"/>
              <a:gd name="connsiteY2" fmla="*/ 3733108 h 3734102"/>
              <a:gd name="connsiteX3" fmla="*/ 4572222 w 9154247"/>
              <a:gd name="connsiteY3" fmla="*/ 3734102 h 3734102"/>
              <a:gd name="connsiteX4" fmla="*/ 4572272 w 9154247"/>
              <a:gd name="connsiteY4" fmla="*/ 3152924 h 3734102"/>
              <a:gd name="connsiteX5" fmla="*/ 0 w 9154247"/>
              <a:gd name="connsiteY5" fmla="*/ 3151830 h 3734102"/>
              <a:gd name="connsiteX6" fmla="*/ 7191 w 9154247"/>
              <a:gd name="connsiteY6" fmla="*/ 0 h 3734102"/>
              <a:gd name="connsiteX0" fmla="*/ 7191 w 9162964"/>
              <a:gd name="connsiteY0" fmla="*/ 0 h 3734102"/>
              <a:gd name="connsiteX1" fmla="*/ 9162870 w 9162964"/>
              <a:gd name="connsiteY1" fmla="*/ 16595 h 3734102"/>
              <a:gd name="connsiteX2" fmla="*/ 9147164 w 9162964"/>
              <a:gd name="connsiteY2" fmla="*/ 3733108 h 3734102"/>
              <a:gd name="connsiteX3" fmla="*/ 4572222 w 9162964"/>
              <a:gd name="connsiteY3" fmla="*/ 3734102 h 3734102"/>
              <a:gd name="connsiteX4" fmla="*/ 4572272 w 9162964"/>
              <a:gd name="connsiteY4" fmla="*/ 3152924 h 3734102"/>
              <a:gd name="connsiteX5" fmla="*/ 0 w 9162964"/>
              <a:gd name="connsiteY5" fmla="*/ 3151830 h 3734102"/>
              <a:gd name="connsiteX6" fmla="*/ 7191 w 9162964"/>
              <a:gd name="connsiteY6" fmla="*/ 0 h 3734102"/>
              <a:gd name="connsiteX0" fmla="*/ 307 w 9164573"/>
              <a:gd name="connsiteY0" fmla="*/ 0 h 3734102"/>
              <a:gd name="connsiteX1" fmla="*/ 9164479 w 9164573"/>
              <a:gd name="connsiteY1" fmla="*/ 16595 h 3734102"/>
              <a:gd name="connsiteX2" fmla="*/ 9148773 w 9164573"/>
              <a:gd name="connsiteY2" fmla="*/ 3733108 h 3734102"/>
              <a:gd name="connsiteX3" fmla="*/ 4573831 w 9164573"/>
              <a:gd name="connsiteY3" fmla="*/ 3734102 h 3734102"/>
              <a:gd name="connsiteX4" fmla="*/ 4573881 w 9164573"/>
              <a:gd name="connsiteY4" fmla="*/ 3152924 h 3734102"/>
              <a:gd name="connsiteX5" fmla="*/ 1609 w 9164573"/>
              <a:gd name="connsiteY5" fmla="*/ 3151830 h 3734102"/>
              <a:gd name="connsiteX6" fmla="*/ 307 w 9164573"/>
              <a:gd name="connsiteY6" fmla="*/ 0 h 3734102"/>
              <a:gd name="connsiteX0" fmla="*/ 1529 w 9165795"/>
              <a:gd name="connsiteY0" fmla="*/ 0 h 3734102"/>
              <a:gd name="connsiteX1" fmla="*/ 9165701 w 9165795"/>
              <a:gd name="connsiteY1" fmla="*/ 16595 h 3734102"/>
              <a:gd name="connsiteX2" fmla="*/ 9149995 w 9165795"/>
              <a:gd name="connsiteY2" fmla="*/ 3733108 h 3734102"/>
              <a:gd name="connsiteX3" fmla="*/ 4575053 w 9165795"/>
              <a:gd name="connsiteY3" fmla="*/ 3734102 h 3734102"/>
              <a:gd name="connsiteX4" fmla="*/ 4575103 w 9165795"/>
              <a:gd name="connsiteY4" fmla="*/ 3152924 h 3734102"/>
              <a:gd name="connsiteX5" fmla="*/ 0 w 9165795"/>
              <a:gd name="connsiteY5" fmla="*/ 3140506 h 3734102"/>
              <a:gd name="connsiteX6" fmla="*/ 1529 w 9165795"/>
              <a:gd name="connsiteY6" fmla="*/ 0 h 3734102"/>
              <a:gd name="connsiteX0" fmla="*/ 1529 w 9154597"/>
              <a:gd name="connsiteY0" fmla="*/ 391 h 3734493"/>
              <a:gd name="connsiteX1" fmla="*/ 9154377 w 9154597"/>
              <a:gd name="connsiteY1" fmla="*/ 0 h 3734493"/>
              <a:gd name="connsiteX2" fmla="*/ 9149995 w 9154597"/>
              <a:gd name="connsiteY2" fmla="*/ 3733499 h 3734493"/>
              <a:gd name="connsiteX3" fmla="*/ 4575053 w 9154597"/>
              <a:gd name="connsiteY3" fmla="*/ 3734493 h 3734493"/>
              <a:gd name="connsiteX4" fmla="*/ 4575103 w 9154597"/>
              <a:gd name="connsiteY4" fmla="*/ 3153315 h 3734493"/>
              <a:gd name="connsiteX5" fmla="*/ 0 w 9154597"/>
              <a:gd name="connsiteY5" fmla="*/ 3140897 h 3734493"/>
              <a:gd name="connsiteX6" fmla="*/ 1529 w 9154597"/>
              <a:gd name="connsiteY6" fmla="*/ 391 h 3734493"/>
              <a:gd name="connsiteX0" fmla="*/ 1529 w 9154707"/>
              <a:gd name="connsiteY0" fmla="*/ 391 h 3734493"/>
              <a:gd name="connsiteX1" fmla="*/ 9154377 w 9154707"/>
              <a:gd name="connsiteY1" fmla="*/ 0 h 3734493"/>
              <a:gd name="connsiteX2" fmla="*/ 9152826 w 9154707"/>
              <a:gd name="connsiteY2" fmla="*/ 3719344 h 3734493"/>
              <a:gd name="connsiteX3" fmla="*/ 4575053 w 9154707"/>
              <a:gd name="connsiteY3" fmla="*/ 3734493 h 3734493"/>
              <a:gd name="connsiteX4" fmla="*/ 4575103 w 9154707"/>
              <a:gd name="connsiteY4" fmla="*/ 3153315 h 3734493"/>
              <a:gd name="connsiteX5" fmla="*/ 0 w 9154707"/>
              <a:gd name="connsiteY5" fmla="*/ 3140897 h 3734493"/>
              <a:gd name="connsiteX6" fmla="*/ 1529 w 9154707"/>
              <a:gd name="connsiteY6" fmla="*/ 391 h 3734493"/>
              <a:gd name="connsiteX0" fmla="*/ 1529 w 9154707"/>
              <a:gd name="connsiteY0" fmla="*/ 391 h 3720338"/>
              <a:gd name="connsiteX1" fmla="*/ 9154377 w 9154707"/>
              <a:gd name="connsiteY1" fmla="*/ 0 h 3720338"/>
              <a:gd name="connsiteX2" fmla="*/ 9152826 w 9154707"/>
              <a:gd name="connsiteY2" fmla="*/ 3719344 h 3720338"/>
              <a:gd name="connsiteX3" fmla="*/ 4575053 w 9154707"/>
              <a:gd name="connsiteY3" fmla="*/ 3720338 h 3720338"/>
              <a:gd name="connsiteX4" fmla="*/ 4575103 w 9154707"/>
              <a:gd name="connsiteY4" fmla="*/ 3153315 h 3720338"/>
              <a:gd name="connsiteX5" fmla="*/ 0 w 9154707"/>
              <a:gd name="connsiteY5" fmla="*/ 3140897 h 3720338"/>
              <a:gd name="connsiteX6" fmla="*/ 1529 w 9154707"/>
              <a:gd name="connsiteY6" fmla="*/ 391 h 3720338"/>
              <a:gd name="connsiteX0" fmla="*/ 1529 w 9154707"/>
              <a:gd name="connsiteY0" fmla="*/ 391 h 3720338"/>
              <a:gd name="connsiteX1" fmla="*/ 9154377 w 9154707"/>
              <a:gd name="connsiteY1" fmla="*/ 0 h 3720338"/>
              <a:gd name="connsiteX2" fmla="*/ 9152826 w 9154707"/>
              <a:gd name="connsiteY2" fmla="*/ 3719344 h 3720338"/>
              <a:gd name="connsiteX3" fmla="*/ 4575053 w 9154707"/>
              <a:gd name="connsiteY3" fmla="*/ 3720338 h 3720338"/>
              <a:gd name="connsiteX4" fmla="*/ 4577934 w 9154707"/>
              <a:gd name="connsiteY4" fmla="*/ 3141991 h 3720338"/>
              <a:gd name="connsiteX5" fmla="*/ 0 w 9154707"/>
              <a:gd name="connsiteY5" fmla="*/ 3140897 h 3720338"/>
              <a:gd name="connsiteX6" fmla="*/ 1529 w 9154707"/>
              <a:gd name="connsiteY6" fmla="*/ 391 h 3720338"/>
              <a:gd name="connsiteX0" fmla="*/ 1529 w 9154707"/>
              <a:gd name="connsiteY0" fmla="*/ 391 h 3720338"/>
              <a:gd name="connsiteX1" fmla="*/ 9154377 w 9154707"/>
              <a:gd name="connsiteY1" fmla="*/ 0 h 3720338"/>
              <a:gd name="connsiteX2" fmla="*/ 9152826 w 9154707"/>
              <a:gd name="connsiteY2" fmla="*/ 3719344 h 3720338"/>
              <a:gd name="connsiteX3" fmla="*/ 4575053 w 9154707"/>
              <a:gd name="connsiteY3" fmla="*/ 3720338 h 3720338"/>
              <a:gd name="connsiteX4" fmla="*/ 3601621 w 9154707"/>
              <a:gd name="connsiteY4" fmla="*/ 3141991 h 3720338"/>
              <a:gd name="connsiteX5" fmla="*/ 0 w 9154707"/>
              <a:gd name="connsiteY5" fmla="*/ 3140897 h 3720338"/>
              <a:gd name="connsiteX6" fmla="*/ 1529 w 9154707"/>
              <a:gd name="connsiteY6" fmla="*/ 391 h 3720338"/>
              <a:gd name="connsiteX0" fmla="*/ 1529 w 9154707"/>
              <a:gd name="connsiteY0" fmla="*/ 391 h 3720338"/>
              <a:gd name="connsiteX1" fmla="*/ 9154377 w 9154707"/>
              <a:gd name="connsiteY1" fmla="*/ 0 h 3720338"/>
              <a:gd name="connsiteX2" fmla="*/ 9152826 w 9154707"/>
              <a:gd name="connsiteY2" fmla="*/ 3719344 h 3720338"/>
              <a:gd name="connsiteX3" fmla="*/ 3598741 w 9154707"/>
              <a:gd name="connsiteY3" fmla="*/ 3720338 h 3720338"/>
              <a:gd name="connsiteX4" fmla="*/ 3601621 w 9154707"/>
              <a:gd name="connsiteY4" fmla="*/ 3141991 h 3720338"/>
              <a:gd name="connsiteX5" fmla="*/ 0 w 9154707"/>
              <a:gd name="connsiteY5" fmla="*/ 3140897 h 3720338"/>
              <a:gd name="connsiteX6" fmla="*/ 1529 w 9154707"/>
              <a:gd name="connsiteY6" fmla="*/ 391 h 3720338"/>
              <a:gd name="connsiteX0" fmla="*/ 1529 w 9154707"/>
              <a:gd name="connsiteY0" fmla="*/ 647372 h 3720338"/>
              <a:gd name="connsiteX1" fmla="*/ 9154377 w 9154707"/>
              <a:gd name="connsiteY1" fmla="*/ 0 h 3720338"/>
              <a:gd name="connsiteX2" fmla="*/ 9152826 w 9154707"/>
              <a:gd name="connsiteY2" fmla="*/ 3719344 h 3720338"/>
              <a:gd name="connsiteX3" fmla="*/ 3598741 w 9154707"/>
              <a:gd name="connsiteY3" fmla="*/ 3720338 h 3720338"/>
              <a:gd name="connsiteX4" fmla="*/ 3601621 w 9154707"/>
              <a:gd name="connsiteY4" fmla="*/ 3141991 h 3720338"/>
              <a:gd name="connsiteX5" fmla="*/ 0 w 9154707"/>
              <a:gd name="connsiteY5" fmla="*/ 3140897 h 3720338"/>
              <a:gd name="connsiteX6" fmla="*/ 1529 w 9154707"/>
              <a:gd name="connsiteY6" fmla="*/ 647372 h 3720338"/>
              <a:gd name="connsiteX0" fmla="*/ 1529 w 9154707"/>
              <a:gd name="connsiteY0" fmla="*/ 0 h 3072966"/>
              <a:gd name="connsiteX1" fmla="*/ 9154377 w 9154707"/>
              <a:gd name="connsiteY1" fmla="*/ 51367 h 3072966"/>
              <a:gd name="connsiteX2" fmla="*/ 9152826 w 9154707"/>
              <a:gd name="connsiteY2" fmla="*/ 3071972 h 3072966"/>
              <a:gd name="connsiteX3" fmla="*/ 3598741 w 9154707"/>
              <a:gd name="connsiteY3" fmla="*/ 3072966 h 3072966"/>
              <a:gd name="connsiteX4" fmla="*/ 3601621 w 9154707"/>
              <a:gd name="connsiteY4" fmla="*/ 2494619 h 3072966"/>
              <a:gd name="connsiteX5" fmla="*/ 0 w 9154707"/>
              <a:gd name="connsiteY5" fmla="*/ 2493525 h 3072966"/>
              <a:gd name="connsiteX6" fmla="*/ 1529 w 9154707"/>
              <a:gd name="connsiteY6" fmla="*/ 0 h 3072966"/>
              <a:gd name="connsiteX0" fmla="*/ 1529 w 9152826"/>
              <a:gd name="connsiteY0" fmla="*/ 138414 h 3211380"/>
              <a:gd name="connsiteX1" fmla="*/ 9145751 w 9152826"/>
              <a:gd name="connsiteY1" fmla="*/ 0 h 3211380"/>
              <a:gd name="connsiteX2" fmla="*/ 9152826 w 9152826"/>
              <a:gd name="connsiteY2" fmla="*/ 3210386 h 3211380"/>
              <a:gd name="connsiteX3" fmla="*/ 3598741 w 9152826"/>
              <a:gd name="connsiteY3" fmla="*/ 3211380 h 3211380"/>
              <a:gd name="connsiteX4" fmla="*/ 3601621 w 9152826"/>
              <a:gd name="connsiteY4" fmla="*/ 2633033 h 3211380"/>
              <a:gd name="connsiteX5" fmla="*/ 0 w 9152826"/>
              <a:gd name="connsiteY5" fmla="*/ 2631939 h 3211380"/>
              <a:gd name="connsiteX6" fmla="*/ 1529 w 9152826"/>
              <a:gd name="connsiteY6" fmla="*/ 138414 h 3211380"/>
              <a:gd name="connsiteX0" fmla="*/ 143 w 9160067"/>
              <a:gd name="connsiteY0" fmla="*/ 392 h 3211380"/>
              <a:gd name="connsiteX1" fmla="*/ 9152992 w 9160067"/>
              <a:gd name="connsiteY1" fmla="*/ 0 h 3211380"/>
              <a:gd name="connsiteX2" fmla="*/ 9160067 w 9160067"/>
              <a:gd name="connsiteY2" fmla="*/ 3210386 h 3211380"/>
              <a:gd name="connsiteX3" fmla="*/ 3605982 w 9160067"/>
              <a:gd name="connsiteY3" fmla="*/ 3211380 h 3211380"/>
              <a:gd name="connsiteX4" fmla="*/ 3608862 w 9160067"/>
              <a:gd name="connsiteY4" fmla="*/ 2633033 h 3211380"/>
              <a:gd name="connsiteX5" fmla="*/ 7241 w 9160067"/>
              <a:gd name="connsiteY5" fmla="*/ 2631939 h 3211380"/>
              <a:gd name="connsiteX6" fmla="*/ 143 w 9160067"/>
              <a:gd name="connsiteY6" fmla="*/ 392 h 3211380"/>
              <a:gd name="connsiteX0" fmla="*/ 143 w 9160067"/>
              <a:gd name="connsiteY0" fmla="*/ 392 h 3211380"/>
              <a:gd name="connsiteX1" fmla="*/ 9152992 w 9160067"/>
              <a:gd name="connsiteY1" fmla="*/ 0 h 3211380"/>
              <a:gd name="connsiteX2" fmla="*/ 9160067 w 9160067"/>
              <a:gd name="connsiteY2" fmla="*/ 3210386 h 3211380"/>
              <a:gd name="connsiteX3" fmla="*/ 3605982 w 9160067"/>
              <a:gd name="connsiteY3" fmla="*/ 3211380 h 3211380"/>
              <a:gd name="connsiteX4" fmla="*/ 4112111 w 9160067"/>
              <a:gd name="connsiteY4" fmla="*/ 2633033 h 3211380"/>
              <a:gd name="connsiteX5" fmla="*/ 7241 w 9160067"/>
              <a:gd name="connsiteY5" fmla="*/ 2631939 h 3211380"/>
              <a:gd name="connsiteX6" fmla="*/ 143 w 9160067"/>
              <a:gd name="connsiteY6" fmla="*/ 392 h 3211380"/>
              <a:gd name="connsiteX0" fmla="*/ 143 w 9160067"/>
              <a:gd name="connsiteY0" fmla="*/ 392 h 3214669"/>
              <a:gd name="connsiteX1" fmla="*/ 9152992 w 9160067"/>
              <a:gd name="connsiteY1" fmla="*/ 0 h 3214669"/>
              <a:gd name="connsiteX2" fmla="*/ 9160067 w 9160067"/>
              <a:gd name="connsiteY2" fmla="*/ 3210386 h 3214669"/>
              <a:gd name="connsiteX3" fmla="*/ 4109231 w 9160067"/>
              <a:gd name="connsiteY3" fmla="*/ 3214669 h 3214669"/>
              <a:gd name="connsiteX4" fmla="*/ 4112111 w 9160067"/>
              <a:gd name="connsiteY4" fmla="*/ 2633033 h 3214669"/>
              <a:gd name="connsiteX5" fmla="*/ 7241 w 9160067"/>
              <a:gd name="connsiteY5" fmla="*/ 2631939 h 3214669"/>
              <a:gd name="connsiteX6" fmla="*/ 143 w 9160067"/>
              <a:gd name="connsiteY6" fmla="*/ 392 h 3214669"/>
              <a:gd name="connsiteX0" fmla="*/ 143 w 9160067"/>
              <a:gd name="connsiteY0" fmla="*/ 392 h 3217958"/>
              <a:gd name="connsiteX1" fmla="*/ 9152992 w 9160067"/>
              <a:gd name="connsiteY1" fmla="*/ 0 h 3217958"/>
              <a:gd name="connsiteX2" fmla="*/ 9160067 w 9160067"/>
              <a:gd name="connsiteY2" fmla="*/ 3210386 h 3217958"/>
              <a:gd name="connsiteX3" fmla="*/ 4112520 w 9160067"/>
              <a:gd name="connsiteY3" fmla="*/ 3217958 h 3217958"/>
              <a:gd name="connsiteX4" fmla="*/ 4112111 w 9160067"/>
              <a:gd name="connsiteY4" fmla="*/ 2633033 h 3217958"/>
              <a:gd name="connsiteX5" fmla="*/ 7241 w 9160067"/>
              <a:gd name="connsiteY5" fmla="*/ 2631939 h 3217958"/>
              <a:gd name="connsiteX6" fmla="*/ 143 w 9160067"/>
              <a:gd name="connsiteY6" fmla="*/ 392 h 3217958"/>
              <a:gd name="connsiteX0" fmla="*/ 143 w 9160067"/>
              <a:gd name="connsiteY0" fmla="*/ 392 h 3211380"/>
              <a:gd name="connsiteX1" fmla="*/ 9152992 w 9160067"/>
              <a:gd name="connsiteY1" fmla="*/ 0 h 3211380"/>
              <a:gd name="connsiteX2" fmla="*/ 9160067 w 9160067"/>
              <a:gd name="connsiteY2" fmla="*/ 3210386 h 3211380"/>
              <a:gd name="connsiteX3" fmla="*/ 4115809 w 9160067"/>
              <a:gd name="connsiteY3" fmla="*/ 3211380 h 3211380"/>
              <a:gd name="connsiteX4" fmla="*/ 4112111 w 9160067"/>
              <a:gd name="connsiteY4" fmla="*/ 2633033 h 3211380"/>
              <a:gd name="connsiteX5" fmla="*/ 7241 w 9160067"/>
              <a:gd name="connsiteY5" fmla="*/ 2631939 h 3211380"/>
              <a:gd name="connsiteX6" fmla="*/ 143 w 9160067"/>
              <a:gd name="connsiteY6" fmla="*/ 392 h 3211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0067" h="3211380">
                <a:moveTo>
                  <a:pt x="143" y="392"/>
                </a:moveTo>
                <a:lnTo>
                  <a:pt x="9152992" y="0"/>
                </a:lnTo>
                <a:cubicBezTo>
                  <a:pt x="9154579" y="1278732"/>
                  <a:pt x="9158480" y="1931654"/>
                  <a:pt x="9160067" y="3210386"/>
                </a:cubicBezTo>
                <a:lnTo>
                  <a:pt x="4115809" y="3211380"/>
                </a:lnTo>
                <a:cubicBezTo>
                  <a:pt x="4117254" y="3123263"/>
                  <a:pt x="4110666" y="2721150"/>
                  <a:pt x="4112111" y="2633033"/>
                </a:cubicBezTo>
                <a:lnTo>
                  <a:pt x="7241" y="2631939"/>
                </a:lnTo>
                <a:cubicBezTo>
                  <a:pt x="8686" y="1456263"/>
                  <a:pt x="-1302" y="1176068"/>
                  <a:pt x="143" y="392"/>
                </a:cubicBezTo>
                <a:close/>
              </a:path>
            </a:pathLst>
          </a:custGeom>
        </p:spPr>
      </p:pic>
    </p:spTree>
    <p:extLst>
      <p:ext uri="{BB962C8B-B14F-4D97-AF65-F5344CB8AC3E}">
        <p14:creationId xmlns="" xmlns:p14="http://schemas.microsoft.com/office/powerpoint/2010/main" val="240841510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Bilder mit Bildunterschriften">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pPr algn="l"/>
            <a:r>
              <a:rPr lang="de-DE" smtClean="0"/>
              <a:t>Maturity Level Management Total Vehicle, Communication, Version 4.2</a:t>
            </a:r>
            <a:endParaRPr lang="de-DE" dirty="0"/>
          </a:p>
        </p:txBody>
      </p:sp>
      <p:sp>
        <p:nvSpPr>
          <p:cNvPr id="4" name="Foliennummernplatzhalter 3"/>
          <p:cNvSpPr>
            <a:spLocks noGrp="1"/>
          </p:cNvSpPr>
          <p:nvPr>
            <p:ph type="sldNum" sz="quarter" idx="11"/>
          </p:nvPr>
        </p:nvSpPr>
        <p:spPr/>
        <p:txBody>
          <a:bodyPr/>
          <a:lstStyle/>
          <a:p>
            <a:r>
              <a:rPr lang="de-DE" dirty="0" smtClean="0"/>
              <a:t>Seite </a:t>
            </a:r>
            <a:fld id="{AA807A42-CF27-4B84-8583-18EBE418342E}" type="slidenum">
              <a:rPr lang="de-DE" smtClean="0"/>
              <a:pPr/>
              <a:t>‹Nr.›</a:t>
            </a:fld>
            <a:endParaRPr lang="de-DE" dirty="0"/>
          </a:p>
        </p:txBody>
      </p:sp>
      <p:sp>
        <p:nvSpPr>
          <p:cNvPr id="5" name="Bildplatzhalter 6"/>
          <p:cNvSpPr>
            <a:spLocks noGrp="1"/>
          </p:cNvSpPr>
          <p:nvPr>
            <p:ph type="pic" sz="quarter" idx="14" hasCustomPrompt="1"/>
          </p:nvPr>
        </p:nvSpPr>
        <p:spPr>
          <a:xfrm>
            <a:off x="-1837" y="1697783"/>
            <a:ext cx="4566467" cy="2611438"/>
          </a:xfrm>
          <a:prstGeom prst="rect">
            <a:avLst/>
          </a:prstGeom>
          <a:pattFill prst="wdUpDiag">
            <a:fgClr>
              <a:schemeClr val="bg1">
                <a:lumMod val="75000"/>
              </a:schemeClr>
            </a:fgClr>
            <a:bgClr>
              <a:schemeClr val="bg1"/>
            </a:bgClr>
          </a:pattFill>
        </p:spPr>
        <p:txBody>
          <a:bodyPr/>
          <a:lstStyle>
            <a:lvl1pPr marL="0" indent="0">
              <a:buNone/>
              <a:defRPr sz="1600">
                <a:latin typeface="BMW Group" pitchFamily="2" charset="0"/>
                <a:ea typeface="BMW Type Global Pro Regular" pitchFamily="2" charset="0"/>
                <a:cs typeface="BMW Group" pitchFamily="2" charset="0"/>
              </a:defRPr>
            </a:lvl1pPr>
          </a:lstStyle>
          <a:p>
            <a:r>
              <a:rPr lang="de-DE" dirty="0" smtClean="0"/>
              <a:t>Bild durch Klicken auf das Symbol einfügen</a:t>
            </a:r>
            <a:endParaRPr lang="de-DE" dirty="0"/>
          </a:p>
        </p:txBody>
      </p:sp>
      <p:sp>
        <p:nvSpPr>
          <p:cNvPr id="6" name="Bildplatzhalter 6"/>
          <p:cNvSpPr>
            <a:spLocks noGrp="1"/>
          </p:cNvSpPr>
          <p:nvPr>
            <p:ph type="pic" sz="quarter" idx="18" hasCustomPrompt="1"/>
          </p:nvPr>
        </p:nvSpPr>
        <p:spPr>
          <a:xfrm>
            <a:off x="4582548" y="1697783"/>
            <a:ext cx="4573588" cy="2611438"/>
          </a:xfrm>
          <a:prstGeom prst="rect">
            <a:avLst/>
          </a:prstGeom>
          <a:pattFill prst="wdUpDiag">
            <a:fgClr>
              <a:schemeClr val="bg1">
                <a:lumMod val="75000"/>
              </a:schemeClr>
            </a:fgClr>
            <a:bgClr>
              <a:schemeClr val="bg1"/>
            </a:bgClr>
          </a:pattFill>
        </p:spPr>
        <p:txBody>
          <a:bodyPr/>
          <a:lstStyle>
            <a:lvl1pPr marL="0" indent="0">
              <a:buNone/>
              <a:defRPr sz="1600">
                <a:latin typeface="BMW Group" pitchFamily="2" charset="0"/>
                <a:ea typeface="BMW Type Global Pro Regular" pitchFamily="2" charset="0"/>
                <a:cs typeface="BMW Group" pitchFamily="2" charset="0"/>
              </a:defRPr>
            </a:lvl1pPr>
          </a:lstStyle>
          <a:p>
            <a:r>
              <a:rPr lang="de-DE" dirty="0" smtClean="0"/>
              <a:t>Bild durch Klicken auf das Symbol einfügen</a:t>
            </a:r>
            <a:endParaRPr lang="de-DE" dirty="0"/>
          </a:p>
        </p:txBody>
      </p:sp>
      <p:sp>
        <p:nvSpPr>
          <p:cNvPr id="7" name="Textplatzhalter 7"/>
          <p:cNvSpPr>
            <a:spLocks noGrp="1"/>
          </p:cNvSpPr>
          <p:nvPr>
            <p:ph type="body" sz="quarter" idx="15" hasCustomPrompt="1"/>
          </p:nvPr>
        </p:nvSpPr>
        <p:spPr>
          <a:xfrm>
            <a:off x="468313" y="4487291"/>
            <a:ext cx="3924300" cy="2038921"/>
          </a:xfrm>
          <a:prstGeom prst="rect">
            <a:avLst/>
          </a:prstGeom>
        </p:spPr>
        <p:txBody>
          <a:bodyPr lIns="0" tIns="0" rIns="0" bIns="0"/>
          <a:lstStyle>
            <a:lvl1pPr marL="0" indent="0">
              <a:lnSpc>
                <a:spcPct val="100000"/>
              </a:lnSpc>
              <a:spcBef>
                <a:spcPts val="0"/>
              </a:spcBef>
              <a:spcAft>
                <a:spcPts val="0"/>
              </a:spcAft>
              <a:buFontTx/>
              <a:buNone/>
              <a:defRPr sz="1400">
                <a:latin typeface="+mn-lt"/>
                <a:ea typeface="BMW Type Global Pro Regular" pitchFamily="2" charset="0"/>
                <a:cs typeface="BMW Type Global Pro Regular" pitchFamily="2" charset="0"/>
              </a:defRPr>
            </a:lvl1pPr>
            <a:lvl2pPr marL="285750" indent="-285750">
              <a:lnSpc>
                <a:spcPts val="2000"/>
              </a:lnSpc>
              <a:spcBef>
                <a:spcPts val="0"/>
              </a:spcBef>
              <a:spcAft>
                <a:spcPts val="1000"/>
              </a:spcAft>
              <a:buFont typeface="Symbol" pitchFamily="18" charset="2"/>
              <a:buChar char="-"/>
              <a:defRPr sz="1700"/>
            </a:lvl2pPr>
            <a:lvl3pPr marL="633413" indent="-228600">
              <a:lnSpc>
                <a:spcPts val="2000"/>
              </a:lnSpc>
              <a:spcBef>
                <a:spcPts val="0"/>
              </a:spcBef>
              <a:spcAft>
                <a:spcPts val="1000"/>
              </a:spcAft>
              <a:buFont typeface="Symbol" pitchFamily="18" charset="2"/>
              <a:buChar char="-"/>
              <a:defRPr sz="1700"/>
            </a:lvl3pPr>
            <a:lvl4pPr marL="985838" indent="-228600">
              <a:lnSpc>
                <a:spcPts val="2000"/>
              </a:lnSpc>
              <a:spcBef>
                <a:spcPts val="0"/>
              </a:spcBef>
              <a:spcAft>
                <a:spcPts val="1000"/>
              </a:spcAft>
              <a:buFont typeface="Symbol" pitchFamily="18" charset="2"/>
              <a:buChar char="-"/>
              <a:defRPr sz="1700"/>
            </a:lvl4pPr>
            <a:lvl5pPr marL="1349375" indent="-228600">
              <a:lnSpc>
                <a:spcPts val="2000"/>
              </a:lnSpc>
              <a:spcBef>
                <a:spcPts val="0"/>
              </a:spcBef>
              <a:spcAft>
                <a:spcPts val="1000"/>
              </a:spcAft>
              <a:buFont typeface="Symbol" pitchFamily="18" charset="2"/>
              <a:buChar char="-"/>
              <a:defRPr sz="1700"/>
            </a:lvl5pPr>
          </a:lstStyle>
          <a:p>
            <a:pPr lvl="0"/>
            <a:r>
              <a:rPr lang="de-DE" dirty="0" smtClean="0"/>
              <a:t>Bildunterschrift durch Klicken bearbeiten</a:t>
            </a:r>
          </a:p>
        </p:txBody>
      </p:sp>
      <p:sp>
        <p:nvSpPr>
          <p:cNvPr id="8" name="Textplatzhalter 7"/>
          <p:cNvSpPr>
            <a:spLocks noGrp="1"/>
          </p:cNvSpPr>
          <p:nvPr>
            <p:ph type="body" sz="quarter" idx="19" hasCustomPrompt="1"/>
          </p:nvPr>
        </p:nvSpPr>
        <p:spPr>
          <a:xfrm>
            <a:off x="4580490" y="4487291"/>
            <a:ext cx="4028145" cy="2038922"/>
          </a:xfrm>
          <a:prstGeom prst="rect">
            <a:avLst/>
          </a:prstGeom>
        </p:spPr>
        <p:txBody>
          <a:bodyPr lIns="0" tIns="0" rIns="0" bIns="0"/>
          <a:lstStyle>
            <a:lvl1pPr marL="0" indent="0">
              <a:lnSpc>
                <a:spcPct val="100000"/>
              </a:lnSpc>
              <a:spcBef>
                <a:spcPts val="0"/>
              </a:spcBef>
              <a:spcAft>
                <a:spcPts val="0"/>
              </a:spcAft>
              <a:buFontTx/>
              <a:buNone/>
              <a:defRPr sz="1400">
                <a:latin typeface="+mn-lt"/>
                <a:ea typeface="BMW Type Global Pro Regular" pitchFamily="2" charset="0"/>
                <a:cs typeface="BMW Type Global Pro Regular" pitchFamily="2" charset="0"/>
              </a:defRPr>
            </a:lvl1pPr>
            <a:lvl2pPr marL="285750" indent="-285750">
              <a:lnSpc>
                <a:spcPts val="2000"/>
              </a:lnSpc>
              <a:spcBef>
                <a:spcPts val="0"/>
              </a:spcBef>
              <a:spcAft>
                <a:spcPts val="1000"/>
              </a:spcAft>
              <a:buFont typeface="Symbol" pitchFamily="18" charset="2"/>
              <a:buChar char="-"/>
              <a:defRPr sz="1700"/>
            </a:lvl2pPr>
            <a:lvl3pPr marL="633413" indent="-228600">
              <a:lnSpc>
                <a:spcPts val="2000"/>
              </a:lnSpc>
              <a:spcBef>
                <a:spcPts val="0"/>
              </a:spcBef>
              <a:spcAft>
                <a:spcPts val="1000"/>
              </a:spcAft>
              <a:buFont typeface="Symbol" pitchFamily="18" charset="2"/>
              <a:buChar char="-"/>
              <a:defRPr sz="1700"/>
            </a:lvl3pPr>
            <a:lvl4pPr marL="985838" indent="-228600">
              <a:lnSpc>
                <a:spcPts val="2000"/>
              </a:lnSpc>
              <a:spcBef>
                <a:spcPts val="0"/>
              </a:spcBef>
              <a:spcAft>
                <a:spcPts val="1000"/>
              </a:spcAft>
              <a:buFont typeface="Symbol" pitchFamily="18" charset="2"/>
              <a:buChar char="-"/>
              <a:defRPr sz="1700"/>
            </a:lvl4pPr>
            <a:lvl5pPr marL="1349375" indent="-228600">
              <a:lnSpc>
                <a:spcPts val="2000"/>
              </a:lnSpc>
              <a:spcBef>
                <a:spcPts val="0"/>
              </a:spcBef>
              <a:spcAft>
                <a:spcPts val="1000"/>
              </a:spcAft>
              <a:buFont typeface="Symbol" pitchFamily="18" charset="2"/>
              <a:buChar char="-"/>
              <a:defRPr sz="1700"/>
            </a:lvl5pPr>
          </a:lstStyle>
          <a:p>
            <a:pPr lvl="0"/>
            <a:r>
              <a:rPr lang="de-DE" dirty="0" smtClean="0"/>
              <a:t>Bildunterschrift durch Klicken bearbeiten</a:t>
            </a:r>
          </a:p>
        </p:txBody>
      </p:sp>
      <p:sp>
        <p:nvSpPr>
          <p:cNvPr id="9" name="Textplatzhalter 8"/>
          <p:cNvSpPr>
            <a:spLocks noGrp="1"/>
          </p:cNvSpPr>
          <p:nvPr>
            <p:ph type="body" sz="quarter" idx="13" hasCustomPrompt="1"/>
          </p:nvPr>
        </p:nvSpPr>
        <p:spPr>
          <a:xfrm>
            <a:off x="459687" y="403225"/>
            <a:ext cx="8217588" cy="960437"/>
          </a:xfrm>
          <a:prstGeom prst="rect">
            <a:avLst/>
          </a:prstGeom>
        </p:spPr>
        <p:txBody>
          <a:bodyPr lIns="0" tIns="0" rIns="0" bIns="0">
            <a:noAutofit/>
          </a:bodyPr>
          <a:lstStyle>
            <a:lvl1pPr marL="0" indent="0">
              <a:lnSpc>
                <a:spcPts val="2800"/>
              </a:lnSpc>
              <a:spcBef>
                <a:spcPts val="0"/>
              </a:spcBef>
              <a:buNone/>
              <a:defRPr sz="2800" b="1" cap="all" baseline="0">
                <a:solidFill>
                  <a:schemeClr val="bg2"/>
                </a:solidFill>
                <a:latin typeface="+mj-lt"/>
              </a:defRPr>
            </a:lvl1pPr>
          </a:lstStyle>
          <a:p>
            <a:pPr lvl="0"/>
            <a:r>
              <a:rPr lang="de-DE" dirty="0" smtClean="0"/>
              <a:t>HEADLINE DURCH KLICKEN </a:t>
            </a:r>
            <a:br>
              <a:rPr lang="de-DE" dirty="0" smtClean="0"/>
            </a:br>
            <a:r>
              <a:rPr lang="de-DE" dirty="0" smtClean="0"/>
              <a:t>BEARBEITEN</a:t>
            </a:r>
          </a:p>
        </p:txBody>
      </p:sp>
    </p:spTree>
    <p:extLst>
      <p:ext uri="{BB962C8B-B14F-4D97-AF65-F5344CB8AC3E}">
        <p14:creationId xmlns="" xmlns:p14="http://schemas.microsoft.com/office/powerpoint/2010/main" val="23953271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ombifolie weiss">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pPr algn="l"/>
            <a:r>
              <a:rPr lang="de-DE" smtClean="0"/>
              <a:t>Maturity Level Management Total Vehicle, Communication, Version 4.2</a:t>
            </a:r>
            <a:endParaRPr lang="de-DE" dirty="0"/>
          </a:p>
        </p:txBody>
      </p:sp>
      <p:sp>
        <p:nvSpPr>
          <p:cNvPr id="4" name="Foliennummernplatzhalter 3"/>
          <p:cNvSpPr>
            <a:spLocks noGrp="1"/>
          </p:cNvSpPr>
          <p:nvPr>
            <p:ph type="sldNum" sz="quarter" idx="11"/>
          </p:nvPr>
        </p:nvSpPr>
        <p:spPr/>
        <p:txBody>
          <a:bodyPr/>
          <a:lstStyle/>
          <a:p>
            <a:r>
              <a:rPr lang="de-DE" dirty="0" smtClean="0"/>
              <a:t>Seite </a:t>
            </a:r>
            <a:fld id="{AA807A42-CF27-4B84-8583-18EBE418342E}" type="slidenum">
              <a:rPr lang="de-DE" smtClean="0"/>
              <a:pPr/>
              <a:t>‹Nr.›</a:t>
            </a:fld>
            <a:endParaRPr lang="de-DE" dirty="0"/>
          </a:p>
        </p:txBody>
      </p:sp>
      <p:sp>
        <p:nvSpPr>
          <p:cNvPr id="5" name="Textplatzhalter 8"/>
          <p:cNvSpPr>
            <a:spLocks noGrp="1"/>
          </p:cNvSpPr>
          <p:nvPr>
            <p:ph type="body" sz="quarter" idx="13" hasCustomPrompt="1"/>
          </p:nvPr>
        </p:nvSpPr>
        <p:spPr>
          <a:xfrm>
            <a:off x="459687" y="403225"/>
            <a:ext cx="8217588" cy="960437"/>
          </a:xfrm>
          <a:prstGeom prst="rect">
            <a:avLst/>
          </a:prstGeom>
        </p:spPr>
        <p:txBody>
          <a:bodyPr lIns="0" tIns="0" rIns="0" bIns="0">
            <a:noAutofit/>
          </a:bodyPr>
          <a:lstStyle>
            <a:lvl1pPr marL="0" indent="0">
              <a:lnSpc>
                <a:spcPts val="2800"/>
              </a:lnSpc>
              <a:spcBef>
                <a:spcPts val="0"/>
              </a:spcBef>
              <a:buNone/>
              <a:defRPr sz="2800" b="1" cap="all" baseline="0">
                <a:solidFill>
                  <a:schemeClr val="bg2"/>
                </a:solidFill>
                <a:latin typeface="+mj-lt"/>
              </a:defRPr>
            </a:lvl1pPr>
          </a:lstStyle>
          <a:p>
            <a:pPr lvl="0"/>
            <a:r>
              <a:rPr lang="de-DE" dirty="0" smtClean="0"/>
              <a:t>HEADLINE DURCH KLICKEN </a:t>
            </a:r>
            <a:br>
              <a:rPr lang="de-DE" dirty="0" smtClean="0"/>
            </a:br>
            <a:r>
              <a:rPr lang="de-DE" dirty="0" smtClean="0"/>
              <a:t>BEARBEITEN</a:t>
            </a:r>
          </a:p>
        </p:txBody>
      </p:sp>
      <p:sp>
        <p:nvSpPr>
          <p:cNvPr id="6" name="Textplatzhalter 7"/>
          <p:cNvSpPr>
            <a:spLocks noGrp="1"/>
          </p:cNvSpPr>
          <p:nvPr>
            <p:ph type="body" sz="quarter" idx="14" hasCustomPrompt="1"/>
          </p:nvPr>
        </p:nvSpPr>
        <p:spPr>
          <a:xfrm>
            <a:off x="4751387" y="1637401"/>
            <a:ext cx="3925887" cy="4888812"/>
          </a:xfrm>
          <a:prstGeom prst="rect">
            <a:avLst/>
          </a:prstGeom>
        </p:spPr>
        <p:txBody>
          <a:bodyPr lIns="0" tIns="0" rIns="0" bIns="0"/>
          <a:lstStyle>
            <a:lvl1pPr marL="0" indent="0">
              <a:lnSpc>
                <a:spcPct val="100000"/>
              </a:lnSpc>
              <a:spcBef>
                <a:spcPts val="0"/>
              </a:spcBef>
              <a:spcAft>
                <a:spcPts val="1000"/>
              </a:spcAft>
              <a:buFontTx/>
              <a:buNone/>
              <a:defRPr sz="2000">
                <a:latin typeface="+mn-lt"/>
                <a:ea typeface="BMW Type Global Pro Regular" pitchFamily="2" charset="0"/>
                <a:cs typeface="BMW Type Global Pro Regular" pitchFamily="2" charset="0"/>
              </a:defRPr>
            </a:lvl1pPr>
            <a:lvl2pPr marL="200025" indent="-200025">
              <a:lnSpc>
                <a:spcPct val="100000"/>
              </a:lnSpc>
              <a:spcBef>
                <a:spcPts val="0"/>
              </a:spcBef>
              <a:spcAft>
                <a:spcPts val="1000"/>
              </a:spcAft>
              <a:buFont typeface="Symbol" pitchFamily="18" charset="2"/>
              <a:buChar char="-"/>
              <a:defRPr sz="2000">
                <a:latin typeface="+mn-lt"/>
                <a:ea typeface="BMW Type Global Pro Regular" pitchFamily="2" charset="0"/>
                <a:cs typeface="BMW Type Global Pro Regular" pitchFamily="2" charset="0"/>
              </a:defRPr>
            </a:lvl2pPr>
            <a:lvl3pPr marL="452438" indent="-185738">
              <a:lnSpc>
                <a:spcPct val="100000"/>
              </a:lnSpc>
              <a:spcBef>
                <a:spcPts val="0"/>
              </a:spcBef>
              <a:spcAft>
                <a:spcPts val="1000"/>
              </a:spcAft>
              <a:buFont typeface="Symbol" pitchFamily="18" charset="2"/>
              <a:buChar char="-"/>
              <a:defRPr sz="2000">
                <a:latin typeface="+mn-lt"/>
                <a:ea typeface="BMW Type Global Pro Regular" pitchFamily="2" charset="0"/>
                <a:cs typeface="BMW Type Global Pro Regular" pitchFamily="2" charset="0"/>
              </a:defRPr>
            </a:lvl3pPr>
            <a:lvl4pPr marL="719138" indent="-184150">
              <a:lnSpc>
                <a:spcPct val="100000"/>
              </a:lnSpc>
              <a:spcBef>
                <a:spcPts val="0"/>
              </a:spcBef>
              <a:spcAft>
                <a:spcPts val="1000"/>
              </a:spcAft>
              <a:buFont typeface="Symbol" pitchFamily="18" charset="2"/>
              <a:buChar char="-"/>
              <a:defRPr sz="2000">
                <a:latin typeface="+mn-lt"/>
                <a:ea typeface="BMW Type Global Pro Regular" pitchFamily="2" charset="0"/>
                <a:cs typeface="BMW Type Global Pro Regular" pitchFamily="2" charset="0"/>
              </a:defRPr>
            </a:lvl4pPr>
            <a:lvl5pPr marL="985838" indent="-184150">
              <a:lnSpc>
                <a:spcPct val="100000"/>
              </a:lnSpc>
              <a:spcBef>
                <a:spcPts val="0"/>
              </a:spcBef>
              <a:spcAft>
                <a:spcPts val="1000"/>
              </a:spcAft>
              <a:buFont typeface="Symbol" pitchFamily="18" charset="2"/>
              <a:buChar char="-"/>
              <a:defRPr sz="2000">
                <a:latin typeface="+mn-lt"/>
                <a:ea typeface="BMW Type Global Pro Regular" pitchFamily="2" charset="0"/>
                <a:cs typeface="BMW Type Global Pro Regular" pitchFamily="2" charset="0"/>
              </a:defRPr>
            </a:lvl5pPr>
          </a:lstStyle>
          <a:p>
            <a:pPr lvl="0"/>
            <a:r>
              <a:rPr lang="de-DE" dirty="0" smtClean="0"/>
              <a:t>Kleinen Fließtext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Bildplatzhalter 6"/>
          <p:cNvSpPr>
            <a:spLocks noGrp="1"/>
          </p:cNvSpPr>
          <p:nvPr>
            <p:ph type="pic" sz="quarter" idx="15" hasCustomPrompt="1"/>
          </p:nvPr>
        </p:nvSpPr>
        <p:spPr>
          <a:xfrm>
            <a:off x="3" y="1701800"/>
            <a:ext cx="4573586" cy="4824413"/>
          </a:xfrm>
          <a:prstGeom prst="rect">
            <a:avLst/>
          </a:prstGeom>
          <a:pattFill prst="wdUpDiag">
            <a:fgClr>
              <a:schemeClr val="bg1">
                <a:lumMod val="75000"/>
              </a:schemeClr>
            </a:fgClr>
            <a:bgClr>
              <a:schemeClr val="bg1"/>
            </a:bgClr>
          </a:pattFill>
        </p:spPr>
        <p:txBody>
          <a:bodyPr/>
          <a:lstStyle>
            <a:lvl1pPr marL="0" indent="0">
              <a:buNone/>
              <a:defRPr sz="2000">
                <a:latin typeface="BMW Group" pitchFamily="2" charset="0"/>
                <a:ea typeface="BMW Type Global Pro Regular" pitchFamily="2" charset="0"/>
                <a:cs typeface="BMW Group" pitchFamily="2" charset="0"/>
              </a:defRPr>
            </a:lvl1pPr>
          </a:lstStyle>
          <a:p>
            <a:r>
              <a:rPr lang="de-DE" dirty="0" smtClean="0"/>
              <a:t>Bild durch Klicken auf das Symbol einfügen</a:t>
            </a:r>
            <a:endParaRPr lang="de-DE" dirty="0"/>
          </a:p>
        </p:txBody>
      </p:sp>
    </p:spTree>
    <p:extLst>
      <p:ext uri="{BB962C8B-B14F-4D97-AF65-F5344CB8AC3E}">
        <p14:creationId xmlns="" xmlns:p14="http://schemas.microsoft.com/office/powerpoint/2010/main" val="33655907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ombifolie grau">
    <p:spTree>
      <p:nvGrpSpPr>
        <p:cNvPr id="1" name=""/>
        <p:cNvGrpSpPr/>
        <p:nvPr/>
      </p:nvGrpSpPr>
      <p:grpSpPr>
        <a:xfrm>
          <a:off x="0" y="0"/>
          <a:ext cx="0" cy="0"/>
          <a:chOff x="0" y="0"/>
          <a:chExt cx="0" cy="0"/>
        </a:xfrm>
      </p:grpSpPr>
      <p:sp>
        <p:nvSpPr>
          <p:cNvPr id="2" name="Rechteck 1"/>
          <p:cNvSpPr/>
          <p:nvPr userDrawn="1"/>
        </p:nvSpPr>
        <p:spPr>
          <a:xfrm>
            <a:off x="0" y="1701800"/>
            <a:ext cx="9144000" cy="48244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Fußzeilenplatzhalter 2"/>
          <p:cNvSpPr>
            <a:spLocks noGrp="1"/>
          </p:cNvSpPr>
          <p:nvPr>
            <p:ph type="ftr" sz="quarter" idx="10"/>
          </p:nvPr>
        </p:nvSpPr>
        <p:spPr/>
        <p:txBody>
          <a:bodyPr/>
          <a:lstStyle/>
          <a:p>
            <a:pPr algn="l"/>
            <a:r>
              <a:rPr lang="de-DE" smtClean="0"/>
              <a:t>Maturity Level Management Total Vehicle, Communication, Version 4.2</a:t>
            </a:r>
            <a:endParaRPr lang="de-DE" dirty="0"/>
          </a:p>
        </p:txBody>
      </p:sp>
      <p:sp>
        <p:nvSpPr>
          <p:cNvPr id="4" name="Foliennummernplatzhalter 3"/>
          <p:cNvSpPr>
            <a:spLocks noGrp="1"/>
          </p:cNvSpPr>
          <p:nvPr>
            <p:ph type="sldNum" sz="quarter" idx="11"/>
          </p:nvPr>
        </p:nvSpPr>
        <p:spPr/>
        <p:txBody>
          <a:bodyPr/>
          <a:lstStyle/>
          <a:p>
            <a:r>
              <a:rPr lang="de-DE" dirty="0" smtClean="0"/>
              <a:t>Seite </a:t>
            </a:r>
            <a:fld id="{AA807A42-CF27-4B84-8583-18EBE418342E}" type="slidenum">
              <a:rPr lang="de-DE" smtClean="0"/>
              <a:pPr/>
              <a:t>‹Nr.›</a:t>
            </a:fld>
            <a:endParaRPr lang="de-DE" dirty="0"/>
          </a:p>
        </p:txBody>
      </p:sp>
      <p:sp>
        <p:nvSpPr>
          <p:cNvPr id="5" name="Textplatzhalter 8"/>
          <p:cNvSpPr>
            <a:spLocks noGrp="1"/>
          </p:cNvSpPr>
          <p:nvPr>
            <p:ph type="body" sz="quarter" idx="13" hasCustomPrompt="1"/>
          </p:nvPr>
        </p:nvSpPr>
        <p:spPr>
          <a:xfrm>
            <a:off x="459687" y="403225"/>
            <a:ext cx="8217588" cy="960437"/>
          </a:xfrm>
          <a:prstGeom prst="rect">
            <a:avLst/>
          </a:prstGeom>
        </p:spPr>
        <p:txBody>
          <a:bodyPr lIns="0" tIns="0" rIns="0" bIns="0">
            <a:noAutofit/>
          </a:bodyPr>
          <a:lstStyle>
            <a:lvl1pPr marL="0" indent="0">
              <a:lnSpc>
                <a:spcPts val="2800"/>
              </a:lnSpc>
              <a:spcBef>
                <a:spcPts val="0"/>
              </a:spcBef>
              <a:buNone/>
              <a:defRPr sz="2800" b="1" cap="all" baseline="0">
                <a:solidFill>
                  <a:schemeClr val="bg2"/>
                </a:solidFill>
                <a:latin typeface="+mj-lt"/>
              </a:defRPr>
            </a:lvl1pPr>
          </a:lstStyle>
          <a:p>
            <a:pPr lvl="0"/>
            <a:r>
              <a:rPr lang="de-DE" dirty="0" smtClean="0"/>
              <a:t>HEADLINE DURCH KLICKEN </a:t>
            </a:r>
            <a:br>
              <a:rPr lang="de-DE" dirty="0" smtClean="0"/>
            </a:br>
            <a:r>
              <a:rPr lang="de-DE" dirty="0" smtClean="0"/>
              <a:t>BEARBEITEN</a:t>
            </a:r>
          </a:p>
        </p:txBody>
      </p:sp>
      <p:sp>
        <p:nvSpPr>
          <p:cNvPr id="6" name="Textplatzhalter 7"/>
          <p:cNvSpPr>
            <a:spLocks noGrp="1"/>
          </p:cNvSpPr>
          <p:nvPr>
            <p:ph type="body" sz="quarter" idx="14" hasCustomPrompt="1"/>
          </p:nvPr>
        </p:nvSpPr>
        <p:spPr>
          <a:xfrm>
            <a:off x="4751387" y="1913433"/>
            <a:ext cx="3925887" cy="4444235"/>
          </a:xfrm>
          <a:prstGeom prst="rect">
            <a:avLst/>
          </a:prstGeom>
        </p:spPr>
        <p:txBody>
          <a:bodyPr lIns="0" tIns="0" rIns="0" bIns="0"/>
          <a:lstStyle>
            <a:lvl1pPr marL="0" indent="0">
              <a:lnSpc>
                <a:spcPct val="100000"/>
              </a:lnSpc>
              <a:spcBef>
                <a:spcPts val="0"/>
              </a:spcBef>
              <a:spcAft>
                <a:spcPts val="1000"/>
              </a:spcAft>
              <a:buFontTx/>
              <a:buNone/>
              <a:defRPr sz="2000">
                <a:latin typeface="+mn-lt"/>
                <a:ea typeface="BMW Type Global Pro Regular" pitchFamily="2" charset="0"/>
                <a:cs typeface="BMW Type Global Pro Regular" pitchFamily="2" charset="0"/>
              </a:defRPr>
            </a:lvl1pPr>
            <a:lvl2pPr marL="200025" indent="-200025">
              <a:lnSpc>
                <a:spcPct val="100000"/>
              </a:lnSpc>
              <a:spcBef>
                <a:spcPts val="0"/>
              </a:spcBef>
              <a:spcAft>
                <a:spcPts val="1000"/>
              </a:spcAft>
              <a:buFont typeface="Symbol" pitchFamily="18" charset="2"/>
              <a:buChar char="-"/>
              <a:defRPr sz="2000">
                <a:latin typeface="+mn-lt"/>
                <a:ea typeface="BMW Type Global Pro Regular" pitchFamily="2" charset="0"/>
                <a:cs typeface="BMW Type Global Pro Regular" pitchFamily="2" charset="0"/>
              </a:defRPr>
            </a:lvl2pPr>
            <a:lvl3pPr marL="452438" indent="-185738">
              <a:lnSpc>
                <a:spcPct val="100000"/>
              </a:lnSpc>
              <a:spcBef>
                <a:spcPts val="0"/>
              </a:spcBef>
              <a:spcAft>
                <a:spcPts val="1000"/>
              </a:spcAft>
              <a:buFont typeface="Symbol" pitchFamily="18" charset="2"/>
              <a:buChar char="-"/>
              <a:defRPr sz="2000">
                <a:latin typeface="+mn-lt"/>
                <a:ea typeface="BMW Type Global Pro Regular" pitchFamily="2" charset="0"/>
                <a:cs typeface="BMW Type Global Pro Regular" pitchFamily="2" charset="0"/>
              </a:defRPr>
            </a:lvl3pPr>
            <a:lvl4pPr marL="719138" indent="-184150">
              <a:lnSpc>
                <a:spcPct val="100000"/>
              </a:lnSpc>
              <a:spcBef>
                <a:spcPts val="0"/>
              </a:spcBef>
              <a:spcAft>
                <a:spcPts val="1000"/>
              </a:spcAft>
              <a:buFont typeface="Symbol" pitchFamily="18" charset="2"/>
              <a:buChar char="-"/>
              <a:defRPr sz="2000">
                <a:latin typeface="+mn-lt"/>
                <a:ea typeface="BMW Type Global Pro Regular" pitchFamily="2" charset="0"/>
                <a:cs typeface="BMW Type Global Pro Regular" pitchFamily="2" charset="0"/>
              </a:defRPr>
            </a:lvl4pPr>
            <a:lvl5pPr marL="985838" indent="-184150">
              <a:lnSpc>
                <a:spcPct val="100000"/>
              </a:lnSpc>
              <a:spcBef>
                <a:spcPts val="0"/>
              </a:spcBef>
              <a:spcAft>
                <a:spcPts val="1000"/>
              </a:spcAft>
              <a:buFont typeface="Symbol" pitchFamily="18" charset="2"/>
              <a:buChar char="-"/>
              <a:defRPr sz="2000">
                <a:latin typeface="+mn-lt"/>
                <a:ea typeface="BMW Type Global Pro Regular" pitchFamily="2" charset="0"/>
                <a:cs typeface="BMW Type Global Pro Regular" pitchFamily="2" charset="0"/>
              </a:defRPr>
            </a:lvl5pPr>
          </a:lstStyle>
          <a:p>
            <a:pPr lvl="0"/>
            <a:r>
              <a:rPr lang="de-DE" dirty="0" smtClean="0"/>
              <a:t>Kleinen Fließtext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Bildplatzhalter 6"/>
          <p:cNvSpPr>
            <a:spLocks noGrp="1"/>
          </p:cNvSpPr>
          <p:nvPr>
            <p:ph type="pic" sz="quarter" idx="15" hasCustomPrompt="1"/>
          </p:nvPr>
        </p:nvSpPr>
        <p:spPr>
          <a:xfrm>
            <a:off x="3" y="1971675"/>
            <a:ext cx="4573586" cy="4283075"/>
          </a:xfrm>
          <a:prstGeom prst="rect">
            <a:avLst/>
          </a:prstGeom>
          <a:pattFill prst="wdUpDiag">
            <a:fgClr>
              <a:schemeClr val="bg1">
                <a:lumMod val="75000"/>
              </a:schemeClr>
            </a:fgClr>
            <a:bgClr>
              <a:schemeClr val="bg1"/>
            </a:bgClr>
          </a:pattFill>
        </p:spPr>
        <p:txBody>
          <a:bodyPr/>
          <a:lstStyle>
            <a:lvl1pPr marL="0" indent="0">
              <a:buNone/>
              <a:defRPr sz="2000">
                <a:latin typeface="BMW Group" pitchFamily="2" charset="0"/>
                <a:ea typeface="BMW Type Global Pro Regular" pitchFamily="2" charset="0"/>
                <a:cs typeface="BMW Group" pitchFamily="2" charset="0"/>
              </a:defRPr>
            </a:lvl1pPr>
          </a:lstStyle>
          <a:p>
            <a:r>
              <a:rPr lang="de-DE" dirty="0" smtClean="0"/>
              <a:t>Bild durch Klicken auf das Symbol einfügen</a:t>
            </a:r>
            <a:endParaRPr lang="de-DE" dirty="0"/>
          </a:p>
        </p:txBody>
      </p:sp>
    </p:spTree>
    <p:extLst>
      <p:ext uri="{BB962C8B-B14F-4D97-AF65-F5344CB8AC3E}">
        <p14:creationId xmlns="" xmlns:p14="http://schemas.microsoft.com/office/powerpoint/2010/main" val="11500158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5" name="Rechteck 4"/>
          <p:cNvSpPr/>
          <p:nvPr userDrawn="1"/>
        </p:nvSpPr>
        <p:spPr>
          <a:xfrm>
            <a:off x="0" y="0"/>
            <a:ext cx="914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Textplatzhalter 8"/>
          <p:cNvSpPr>
            <a:spLocks noGrp="1"/>
          </p:cNvSpPr>
          <p:nvPr>
            <p:ph type="body" sz="quarter" idx="13" hasCustomPrompt="1"/>
          </p:nvPr>
        </p:nvSpPr>
        <p:spPr>
          <a:xfrm>
            <a:off x="459687" y="403225"/>
            <a:ext cx="8217588" cy="960437"/>
          </a:xfrm>
          <a:prstGeom prst="rect">
            <a:avLst/>
          </a:prstGeom>
        </p:spPr>
        <p:txBody>
          <a:bodyPr lIns="0" tIns="0" rIns="0" bIns="0">
            <a:noAutofit/>
          </a:bodyPr>
          <a:lstStyle>
            <a:lvl1pPr marL="0" indent="0">
              <a:lnSpc>
                <a:spcPts val="2800"/>
              </a:lnSpc>
              <a:spcBef>
                <a:spcPts val="0"/>
              </a:spcBef>
              <a:buNone/>
              <a:defRPr sz="2800" b="1" cap="all" baseline="0">
                <a:solidFill>
                  <a:schemeClr val="bg1"/>
                </a:solidFill>
                <a:latin typeface="+mj-lt"/>
              </a:defRPr>
            </a:lvl1pPr>
          </a:lstStyle>
          <a:p>
            <a:pPr lvl="0"/>
            <a:r>
              <a:rPr lang="de-DE" dirty="0" smtClean="0"/>
              <a:t>HEADLINE DURCH KLICKEN </a:t>
            </a:r>
            <a:br>
              <a:rPr lang="de-DE" dirty="0" smtClean="0"/>
            </a:br>
            <a:r>
              <a:rPr lang="de-DE" dirty="0" smtClean="0"/>
              <a:t>BEARBEITEN</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el mit Bild, Headline 1-zeilig">
    <p:spTree>
      <p:nvGrpSpPr>
        <p:cNvPr id="1" name=""/>
        <p:cNvGrpSpPr/>
        <p:nvPr/>
      </p:nvGrpSpPr>
      <p:grpSpPr>
        <a:xfrm>
          <a:off x="0" y="0"/>
          <a:ext cx="0" cy="0"/>
          <a:chOff x="0" y="0"/>
          <a:chExt cx="0" cy="0"/>
        </a:xfrm>
      </p:grpSpPr>
      <p:sp>
        <p:nvSpPr>
          <p:cNvPr id="12" name="Bildplatzhalter 6"/>
          <p:cNvSpPr>
            <a:spLocks noGrp="1"/>
          </p:cNvSpPr>
          <p:nvPr>
            <p:ph type="pic" sz="quarter" idx="19" hasCustomPrompt="1"/>
          </p:nvPr>
        </p:nvSpPr>
        <p:spPr>
          <a:xfrm>
            <a:off x="-2625" y="-392"/>
            <a:ext cx="9154707" cy="3719344"/>
          </a:xfrm>
          <a:custGeom>
            <a:avLst/>
            <a:gdLst>
              <a:gd name="connsiteX0" fmla="*/ 0 w 9144000"/>
              <a:gd name="connsiteY0" fmla="*/ 0 h 3795713"/>
              <a:gd name="connsiteX1" fmla="*/ 9144000 w 9144000"/>
              <a:gd name="connsiteY1" fmla="*/ 0 h 3795713"/>
              <a:gd name="connsiteX2" fmla="*/ 9144000 w 9144000"/>
              <a:gd name="connsiteY2" fmla="*/ 3795713 h 3795713"/>
              <a:gd name="connsiteX3" fmla="*/ 0 w 9144000"/>
              <a:gd name="connsiteY3" fmla="*/ 3795713 h 3795713"/>
              <a:gd name="connsiteX4" fmla="*/ 0 w 9144000"/>
              <a:gd name="connsiteY4" fmla="*/ 0 h 3795713"/>
              <a:gd name="connsiteX0" fmla="*/ 0 w 9144000"/>
              <a:gd name="connsiteY0" fmla="*/ 0 h 3795713"/>
              <a:gd name="connsiteX1" fmla="*/ 9144000 w 9144000"/>
              <a:gd name="connsiteY1" fmla="*/ 0 h 3795713"/>
              <a:gd name="connsiteX2" fmla="*/ 9144000 w 9144000"/>
              <a:gd name="connsiteY2" fmla="*/ 3795713 h 3795713"/>
              <a:gd name="connsiteX3" fmla="*/ 4571779 w 9144000"/>
              <a:gd name="connsiteY3" fmla="*/ 3791943 h 3795713"/>
              <a:gd name="connsiteX4" fmla="*/ 0 w 9144000"/>
              <a:gd name="connsiteY4" fmla="*/ 3795713 h 3795713"/>
              <a:gd name="connsiteX5" fmla="*/ 0 w 9144000"/>
              <a:gd name="connsiteY5" fmla="*/ 0 h 3795713"/>
              <a:gd name="connsiteX0" fmla="*/ 0 w 9144000"/>
              <a:gd name="connsiteY0" fmla="*/ 0 h 3795713"/>
              <a:gd name="connsiteX1" fmla="*/ 9144000 w 9144000"/>
              <a:gd name="connsiteY1" fmla="*/ 0 h 3795713"/>
              <a:gd name="connsiteX2" fmla="*/ 9144000 w 9144000"/>
              <a:gd name="connsiteY2" fmla="*/ 3795713 h 3795713"/>
              <a:gd name="connsiteX3" fmla="*/ 4571779 w 9144000"/>
              <a:gd name="connsiteY3" fmla="*/ 3791943 h 3795713"/>
              <a:gd name="connsiteX4" fmla="*/ 4242422 w 9144000"/>
              <a:gd name="connsiteY4" fmla="*/ 3787609 h 3795713"/>
              <a:gd name="connsiteX5" fmla="*/ 0 w 9144000"/>
              <a:gd name="connsiteY5" fmla="*/ 3795713 h 3795713"/>
              <a:gd name="connsiteX6" fmla="*/ 0 w 9144000"/>
              <a:gd name="connsiteY6" fmla="*/ 0 h 3795713"/>
              <a:gd name="connsiteX0" fmla="*/ 0 w 9144000"/>
              <a:gd name="connsiteY0" fmla="*/ 0 h 3795713"/>
              <a:gd name="connsiteX1" fmla="*/ 9144000 w 9144000"/>
              <a:gd name="connsiteY1" fmla="*/ 0 h 3795713"/>
              <a:gd name="connsiteX2" fmla="*/ 9144000 w 9144000"/>
              <a:gd name="connsiteY2" fmla="*/ 3795713 h 3795713"/>
              <a:gd name="connsiteX3" fmla="*/ 4571779 w 9144000"/>
              <a:gd name="connsiteY3" fmla="*/ 3791943 h 3795713"/>
              <a:gd name="connsiteX4" fmla="*/ 4576113 w 9144000"/>
              <a:gd name="connsiteY4" fmla="*/ 3527591 h 3795713"/>
              <a:gd name="connsiteX5" fmla="*/ 0 w 9144000"/>
              <a:gd name="connsiteY5" fmla="*/ 3795713 h 3795713"/>
              <a:gd name="connsiteX6" fmla="*/ 0 w 9144000"/>
              <a:gd name="connsiteY6" fmla="*/ 0 h 3795713"/>
              <a:gd name="connsiteX0" fmla="*/ 4334 w 9148334"/>
              <a:gd name="connsiteY0" fmla="*/ 0 h 3795713"/>
              <a:gd name="connsiteX1" fmla="*/ 9148334 w 9148334"/>
              <a:gd name="connsiteY1" fmla="*/ 0 h 3795713"/>
              <a:gd name="connsiteX2" fmla="*/ 9148334 w 9148334"/>
              <a:gd name="connsiteY2" fmla="*/ 3795713 h 3795713"/>
              <a:gd name="connsiteX3" fmla="*/ 4576113 w 9148334"/>
              <a:gd name="connsiteY3" fmla="*/ 3791943 h 3795713"/>
              <a:gd name="connsiteX4" fmla="*/ 4580447 w 9148334"/>
              <a:gd name="connsiteY4" fmla="*/ 3527591 h 3795713"/>
              <a:gd name="connsiteX5" fmla="*/ 0 w 9148334"/>
              <a:gd name="connsiteY5" fmla="*/ 3527027 h 3795713"/>
              <a:gd name="connsiteX6" fmla="*/ 4334 w 9148334"/>
              <a:gd name="connsiteY6" fmla="*/ 0 h 3795713"/>
              <a:gd name="connsiteX0" fmla="*/ 4334 w 9148334"/>
              <a:gd name="connsiteY0" fmla="*/ 0 h 3834806"/>
              <a:gd name="connsiteX1" fmla="*/ 9148334 w 9148334"/>
              <a:gd name="connsiteY1" fmla="*/ 0 h 3834806"/>
              <a:gd name="connsiteX2" fmla="*/ 9148334 w 9148334"/>
              <a:gd name="connsiteY2" fmla="*/ 3795713 h 3834806"/>
              <a:gd name="connsiteX3" fmla="*/ 4580875 w 9148334"/>
              <a:gd name="connsiteY3" fmla="*/ 3834806 h 3834806"/>
              <a:gd name="connsiteX4" fmla="*/ 4580447 w 9148334"/>
              <a:gd name="connsiteY4" fmla="*/ 3527591 h 3834806"/>
              <a:gd name="connsiteX5" fmla="*/ 0 w 9148334"/>
              <a:gd name="connsiteY5" fmla="*/ 3527027 h 3834806"/>
              <a:gd name="connsiteX6" fmla="*/ 4334 w 9148334"/>
              <a:gd name="connsiteY6" fmla="*/ 0 h 3834806"/>
              <a:gd name="connsiteX0" fmla="*/ 4334 w 9148334"/>
              <a:gd name="connsiteY0" fmla="*/ 0 h 3834806"/>
              <a:gd name="connsiteX1" fmla="*/ 9148334 w 9148334"/>
              <a:gd name="connsiteY1" fmla="*/ 0 h 3834806"/>
              <a:gd name="connsiteX2" fmla="*/ 9148334 w 9148334"/>
              <a:gd name="connsiteY2" fmla="*/ 3795713 h 3834806"/>
              <a:gd name="connsiteX3" fmla="*/ 4580875 w 9148334"/>
              <a:gd name="connsiteY3" fmla="*/ 3834806 h 3834806"/>
              <a:gd name="connsiteX4" fmla="*/ 4580447 w 9148334"/>
              <a:gd name="connsiteY4" fmla="*/ 3522829 h 3834806"/>
              <a:gd name="connsiteX5" fmla="*/ 0 w 9148334"/>
              <a:gd name="connsiteY5" fmla="*/ 3527027 h 3834806"/>
              <a:gd name="connsiteX6" fmla="*/ 4334 w 9148334"/>
              <a:gd name="connsiteY6" fmla="*/ 0 h 3834806"/>
              <a:gd name="connsiteX0" fmla="*/ 4334 w 9153096"/>
              <a:gd name="connsiteY0" fmla="*/ 0 h 3836195"/>
              <a:gd name="connsiteX1" fmla="*/ 9148334 w 9153096"/>
              <a:gd name="connsiteY1" fmla="*/ 0 h 3836195"/>
              <a:gd name="connsiteX2" fmla="*/ 9153096 w 9153096"/>
              <a:gd name="connsiteY2" fmla="*/ 3836195 h 3836195"/>
              <a:gd name="connsiteX3" fmla="*/ 4580875 w 9153096"/>
              <a:gd name="connsiteY3" fmla="*/ 3834806 h 3836195"/>
              <a:gd name="connsiteX4" fmla="*/ 4580447 w 9153096"/>
              <a:gd name="connsiteY4" fmla="*/ 3522829 h 3836195"/>
              <a:gd name="connsiteX5" fmla="*/ 0 w 9153096"/>
              <a:gd name="connsiteY5" fmla="*/ 3527027 h 3836195"/>
              <a:gd name="connsiteX6" fmla="*/ 4334 w 9153096"/>
              <a:gd name="connsiteY6" fmla="*/ 0 h 3836195"/>
              <a:gd name="connsiteX0" fmla="*/ 4334 w 9153096"/>
              <a:gd name="connsiteY0" fmla="*/ 0 h 3987206"/>
              <a:gd name="connsiteX1" fmla="*/ 9148334 w 9153096"/>
              <a:gd name="connsiteY1" fmla="*/ 0 h 3987206"/>
              <a:gd name="connsiteX2" fmla="*/ 9153096 w 9153096"/>
              <a:gd name="connsiteY2" fmla="*/ 3836195 h 3987206"/>
              <a:gd name="connsiteX3" fmla="*/ 4580875 w 9153096"/>
              <a:gd name="connsiteY3" fmla="*/ 3987206 h 3987206"/>
              <a:gd name="connsiteX4" fmla="*/ 4580447 w 9153096"/>
              <a:gd name="connsiteY4" fmla="*/ 3522829 h 3987206"/>
              <a:gd name="connsiteX5" fmla="*/ 0 w 9153096"/>
              <a:gd name="connsiteY5" fmla="*/ 3527027 h 3987206"/>
              <a:gd name="connsiteX6" fmla="*/ 4334 w 9153096"/>
              <a:gd name="connsiteY6" fmla="*/ 0 h 3987206"/>
              <a:gd name="connsiteX0" fmla="*/ 4334 w 9153096"/>
              <a:gd name="connsiteY0" fmla="*/ 0 h 3987206"/>
              <a:gd name="connsiteX1" fmla="*/ 9148334 w 9153096"/>
              <a:gd name="connsiteY1" fmla="*/ 0 h 3987206"/>
              <a:gd name="connsiteX2" fmla="*/ 9153096 w 9153096"/>
              <a:gd name="connsiteY2" fmla="*/ 3983832 h 3987206"/>
              <a:gd name="connsiteX3" fmla="*/ 4580875 w 9153096"/>
              <a:gd name="connsiteY3" fmla="*/ 3987206 h 3987206"/>
              <a:gd name="connsiteX4" fmla="*/ 4580447 w 9153096"/>
              <a:gd name="connsiteY4" fmla="*/ 3522829 h 3987206"/>
              <a:gd name="connsiteX5" fmla="*/ 0 w 9153096"/>
              <a:gd name="connsiteY5" fmla="*/ 3527027 h 3987206"/>
              <a:gd name="connsiteX6" fmla="*/ 4334 w 9153096"/>
              <a:gd name="connsiteY6" fmla="*/ 0 h 3987206"/>
              <a:gd name="connsiteX0" fmla="*/ 4334 w 9153096"/>
              <a:gd name="connsiteY0" fmla="*/ 0 h 3984825"/>
              <a:gd name="connsiteX1" fmla="*/ 9148334 w 9153096"/>
              <a:gd name="connsiteY1" fmla="*/ 0 h 3984825"/>
              <a:gd name="connsiteX2" fmla="*/ 9153096 w 9153096"/>
              <a:gd name="connsiteY2" fmla="*/ 3983832 h 3984825"/>
              <a:gd name="connsiteX3" fmla="*/ 4580875 w 9153096"/>
              <a:gd name="connsiteY3" fmla="*/ 3984825 h 3984825"/>
              <a:gd name="connsiteX4" fmla="*/ 4580447 w 9153096"/>
              <a:gd name="connsiteY4" fmla="*/ 3522829 h 3984825"/>
              <a:gd name="connsiteX5" fmla="*/ 0 w 9153096"/>
              <a:gd name="connsiteY5" fmla="*/ 3527027 h 3984825"/>
              <a:gd name="connsiteX6" fmla="*/ 4334 w 9153096"/>
              <a:gd name="connsiteY6" fmla="*/ 0 h 3984825"/>
              <a:gd name="connsiteX0" fmla="*/ 4334 w 9153096"/>
              <a:gd name="connsiteY0" fmla="*/ 0 h 3984825"/>
              <a:gd name="connsiteX1" fmla="*/ 9148334 w 9153096"/>
              <a:gd name="connsiteY1" fmla="*/ 0 h 3984825"/>
              <a:gd name="connsiteX2" fmla="*/ 9153096 w 9153096"/>
              <a:gd name="connsiteY2" fmla="*/ 3983832 h 3984825"/>
              <a:gd name="connsiteX3" fmla="*/ 4580875 w 9153096"/>
              <a:gd name="connsiteY3" fmla="*/ 3984825 h 3984825"/>
              <a:gd name="connsiteX4" fmla="*/ 4583331 w 9153096"/>
              <a:gd name="connsiteY4" fmla="*/ 3442062 h 3984825"/>
              <a:gd name="connsiteX5" fmla="*/ 0 w 9153096"/>
              <a:gd name="connsiteY5" fmla="*/ 3527027 h 3984825"/>
              <a:gd name="connsiteX6" fmla="*/ 4334 w 9153096"/>
              <a:gd name="connsiteY6" fmla="*/ 0 h 3984825"/>
              <a:gd name="connsiteX0" fmla="*/ 4334 w 9153096"/>
              <a:gd name="connsiteY0" fmla="*/ 0 h 3984825"/>
              <a:gd name="connsiteX1" fmla="*/ 9148334 w 9153096"/>
              <a:gd name="connsiteY1" fmla="*/ 0 h 3984825"/>
              <a:gd name="connsiteX2" fmla="*/ 9153096 w 9153096"/>
              <a:gd name="connsiteY2" fmla="*/ 3983832 h 3984825"/>
              <a:gd name="connsiteX3" fmla="*/ 4580875 w 9153096"/>
              <a:gd name="connsiteY3" fmla="*/ 3984825 h 3984825"/>
              <a:gd name="connsiteX4" fmla="*/ 4583331 w 9153096"/>
              <a:gd name="connsiteY4" fmla="*/ 3442062 h 3984825"/>
              <a:gd name="connsiteX5" fmla="*/ 0 w 9153096"/>
              <a:gd name="connsiteY5" fmla="*/ 3443375 h 3984825"/>
              <a:gd name="connsiteX6" fmla="*/ 4334 w 9153096"/>
              <a:gd name="connsiteY6" fmla="*/ 0 h 3984825"/>
              <a:gd name="connsiteX0" fmla="*/ 142 w 9148904"/>
              <a:gd name="connsiteY0" fmla="*/ 0 h 3984825"/>
              <a:gd name="connsiteX1" fmla="*/ 9144142 w 9148904"/>
              <a:gd name="connsiteY1" fmla="*/ 0 h 3984825"/>
              <a:gd name="connsiteX2" fmla="*/ 9148904 w 9148904"/>
              <a:gd name="connsiteY2" fmla="*/ 3983832 h 3984825"/>
              <a:gd name="connsiteX3" fmla="*/ 4576683 w 9148904"/>
              <a:gd name="connsiteY3" fmla="*/ 3984825 h 3984825"/>
              <a:gd name="connsiteX4" fmla="*/ 4579139 w 9148904"/>
              <a:gd name="connsiteY4" fmla="*/ 3442062 h 3984825"/>
              <a:gd name="connsiteX5" fmla="*/ 7346 w 9148904"/>
              <a:gd name="connsiteY5" fmla="*/ 3443375 h 3984825"/>
              <a:gd name="connsiteX6" fmla="*/ 142 w 9148904"/>
              <a:gd name="connsiteY6" fmla="*/ 0 h 3984825"/>
              <a:gd name="connsiteX0" fmla="*/ 15872 w 9141558"/>
              <a:gd name="connsiteY0" fmla="*/ 17308 h 3984825"/>
              <a:gd name="connsiteX1" fmla="*/ 9136796 w 9141558"/>
              <a:gd name="connsiteY1" fmla="*/ 0 h 3984825"/>
              <a:gd name="connsiteX2" fmla="*/ 9141558 w 9141558"/>
              <a:gd name="connsiteY2" fmla="*/ 3983832 h 3984825"/>
              <a:gd name="connsiteX3" fmla="*/ 4569337 w 9141558"/>
              <a:gd name="connsiteY3" fmla="*/ 3984825 h 3984825"/>
              <a:gd name="connsiteX4" fmla="*/ 4571793 w 9141558"/>
              <a:gd name="connsiteY4" fmla="*/ 3442062 h 3984825"/>
              <a:gd name="connsiteX5" fmla="*/ 0 w 9141558"/>
              <a:gd name="connsiteY5" fmla="*/ 3443375 h 3984825"/>
              <a:gd name="connsiteX6" fmla="*/ 15872 w 9141558"/>
              <a:gd name="connsiteY6" fmla="*/ 17308 h 3984825"/>
              <a:gd name="connsiteX0" fmla="*/ 192 w 9146070"/>
              <a:gd name="connsiteY0" fmla="*/ 1 h 3984825"/>
              <a:gd name="connsiteX1" fmla="*/ 9141308 w 9146070"/>
              <a:gd name="connsiteY1" fmla="*/ 0 h 3984825"/>
              <a:gd name="connsiteX2" fmla="*/ 9146070 w 9146070"/>
              <a:gd name="connsiteY2" fmla="*/ 3983832 h 3984825"/>
              <a:gd name="connsiteX3" fmla="*/ 4573849 w 9146070"/>
              <a:gd name="connsiteY3" fmla="*/ 3984825 h 3984825"/>
              <a:gd name="connsiteX4" fmla="*/ 4576305 w 9146070"/>
              <a:gd name="connsiteY4" fmla="*/ 3442062 h 3984825"/>
              <a:gd name="connsiteX5" fmla="*/ 4512 w 9146070"/>
              <a:gd name="connsiteY5" fmla="*/ 3443375 h 3984825"/>
              <a:gd name="connsiteX6" fmla="*/ 192 w 9146070"/>
              <a:gd name="connsiteY6" fmla="*/ 1 h 3984825"/>
              <a:gd name="connsiteX0" fmla="*/ 299 w 9146177"/>
              <a:gd name="connsiteY0" fmla="*/ 1 h 3984825"/>
              <a:gd name="connsiteX1" fmla="*/ 9141415 w 9146177"/>
              <a:gd name="connsiteY1" fmla="*/ 0 h 3984825"/>
              <a:gd name="connsiteX2" fmla="*/ 9146177 w 9146177"/>
              <a:gd name="connsiteY2" fmla="*/ 3983832 h 3984825"/>
              <a:gd name="connsiteX3" fmla="*/ 4573956 w 9146177"/>
              <a:gd name="connsiteY3" fmla="*/ 3984825 h 3984825"/>
              <a:gd name="connsiteX4" fmla="*/ 4576412 w 9146177"/>
              <a:gd name="connsiteY4" fmla="*/ 3442062 h 3984825"/>
              <a:gd name="connsiteX5" fmla="*/ 1734 w 9146177"/>
              <a:gd name="connsiteY5" fmla="*/ 3443375 h 3984825"/>
              <a:gd name="connsiteX6" fmla="*/ 299 w 9146177"/>
              <a:gd name="connsiteY6" fmla="*/ 1 h 3984825"/>
              <a:gd name="connsiteX0" fmla="*/ 299 w 9147550"/>
              <a:gd name="connsiteY0" fmla="*/ 2885 h 3987709"/>
              <a:gd name="connsiteX1" fmla="*/ 9147184 w 9147550"/>
              <a:gd name="connsiteY1" fmla="*/ 0 h 3987709"/>
              <a:gd name="connsiteX2" fmla="*/ 9146177 w 9147550"/>
              <a:gd name="connsiteY2" fmla="*/ 3986716 h 3987709"/>
              <a:gd name="connsiteX3" fmla="*/ 4573956 w 9147550"/>
              <a:gd name="connsiteY3" fmla="*/ 3987709 h 3987709"/>
              <a:gd name="connsiteX4" fmla="*/ 4576412 w 9147550"/>
              <a:gd name="connsiteY4" fmla="*/ 3444946 h 3987709"/>
              <a:gd name="connsiteX5" fmla="*/ 1734 w 9147550"/>
              <a:gd name="connsiteY5" fmla="*/ 3446259 h 3987709"/>
              <a:gd name="connsiteX6" fmla="*/ 299 w 9147550"/>
              <a:gd name="connsiteY6" fmla="*/ 2885 h 3987709"/>
              <a:gd name="connsiteX0" fmla="*/ 299 w 9147550"/>
              <a:gd name="connsiteY0" fmla="*/ 0 h 4046239"/>
              <a:gd name="connsiteX1" fmla="*/ 9147184 w 9147550"/>
              <a:gd name="connsiteY1" fmla="*/ 58530 h 4046239"/>
              <a:gd name="connsiteX2" fmla="*/ 9146177 w 9147550"/>
              <a:gd name="connsiteY2" fmla="*/ 4045246 h 4046239"/>
              <a:gd name="connsiteX3" fmla="*/ 4573956 w 9147550"/>
              <a:gd name="connsiteY3" fmla="*/ 4046239 h 4046239"/>
              <a:gd name="connsiteX4" fmla="*/ 4576412 w 9147550"/>
              <a:gd name="connsiteY4" fmla="*/ 3503476 h 4046239"/>
              <a:gd name="connsiteX5" fmla="*/ 1734 w 9147550"/>
              <a:gd name="connsiteY5" fmla="*/ 3504789 h 4046239"/>
              <a:gd name="connsiteX6" fmla="*/ 299 w 9147550"/>
              <a:gd name="connsiteY6" fmla="*/ 0 h 4046239"/>
              <a:gd name="connsiteX0" fmla="*/ 299 w 9147550"/>
              <a:gd name="connsiteY0" fmla="*/ 0 h 4046239"/>
              <a:gd name="connsiteX1" fmla="*/ 9147184 w 9147550"/>
              <a:gd name="connsiteY1" fmla="*/ 58530 h 4046239"/>
              <a:gd name="connsiteX2" fmla="*/ 9146177 w 9147550"/>
              <a:gd name="connsiteY2" fmla="*/ 4045246 h 4046239"/>
              <a:gd name="connsiteX3" fmla="*/ 4573956 w 9147550"/>
              <a:gd name="connsiteY3" fmla="*/ 4046239 h 4046239"/>
              <a:gd name="connsiteX4" fmla="*/ 4576412 w 9147550"/>
              <a:gd name="connsiteY4" fmla="*/ 3503476 h 4046239"/>
              <a:gd name="connsiteX5" fmla="*/ 1734 w 9147550"/>
              <a:gd name="connsiteY5" fmla="*/ 3504789 h 4046239"/>
              <a:gd name="connsiteX6" fmla="*/ 299 w 9147550"/>
              <a:gd name="connsiteY6" fmla="*/ 0 h 4046239"/>
              <a:gd name="connsiteX0" fmla="*/ 299 w 9147550"/>
              <a:gd name="connsiteY0" fmla="*/ 0 h 4046239"/>
              <a:gd name="connsiteX1" fmla="*/ 9147184 w 9147550"/>
              <a:gd name="connsiteY1" fmla="*/ 58530 h 4046239"/>
              <a:gd name="connsiteX2" fmla="*/ 9146177 w 9147550"/>
              <a:gd name="connsiteY2" fmla="*/ 4045246 h 4046239"/>
              <a:gd name="connsiteX3" fmla="*/ 4573956 w 9147550"/>
              <a:gd name="connsiteY3" fmla="*/ 4046239 h 4046239"/>
              <a:gd name="connsiteX4" fmla="*/ 4576412 w 9147550"/>
              <a:gd name="connsiteY4" fmla="*/ 3503476 h 4046239"/>
              <a:gd name="connsiteX5" fmla="*/ 1734 w 9147550"/>
              <a:gd name="connsiteY5" fmla="*/ 3504789 h 4046239"/>
              <a:gd name="connsiteX6" fmla="*/ 299 w 9147550"/>
              <a:gd name="connsiteY6" fmla="*/ 0 h 4046239"/>
              <a:gd name="connsiteX0" fmla="*/ 299 w 9147550"/>
              <a:gd name="connsiteY0" fmla="*/ 0 h 4053063"/>
              <a:gd name="connsiteX1" fmla="*/ 9147184 w 9147550"/>
              <a:gd name="connsiteY1" fmla="*/ 65354 h 4053063"/>
              <a:gd name="connsiteX2" fmla="*/ 9146177 w 9147550"/>
              <a:gd name="connsiteY2" fmla="*/ 4052070 h 4053063"/>
              <a:gd name="connsiteX3" fmla="*/ 4573956 w 9147550"/>
              <a:gd name="connsiteY3" fmla="*/ 4053063 h 4053063"/>
              <a:gd name="connsiteX4" fmla="*/ 4576412 w 9147550"/>
              <a:gd name="connsiteY4" fmla="*/ 3510300 h 4053063"/>
              <a:gd name="connsiteX5" fmla="*/ 1734 w 9147550"/>
              <a:gd name="connsiteY5" fmla="*/ 3511613 h 4053063"/>
              <a:gd name="connsiteX6" fmla="*/ 299 w 9147550"/>
              <a:gd name="connsiteY6" fmla="*/ 0 h 4053063"/>
              <a:gd name="connsiteX0" fmla="*/ 299 w 9147550"/>
              <a:gd name="connsiteY0" fmla="*/ 9709 h 4062772"/>
              <a:gd name="connsiteX1" fmla="*/ 9147184 w 9147550"/>
              <a:gd name="connsiteY1" fmla="*/ 0 h 4062772"/>
              <a:gd name="connsiteX2" fmla="*/ 9146177 w 9147550"/>
              <a:gd name="connsiteY2" fmla="*/ 4061779 h 4062772"/>
              <a:gd name="connsiteX3" fmla="*/ 4573956 w 9147550"/>
              <a:gd name="connsiteY3" fmla="*/ 4062772 h 4062772"/>
              <a:gd name="connsiteX4" fmla="*/ 4576412 w 9147550"/>
              <a:gd name="connsiteY4" fmla="*/ 3520009 h 4062772"/>
              <a:gd name="connsiteX5" fmla="*/ 1734 w 9147550"/>
              <a:gd name="connsiteY5" fmla="*/ 3521322 h 4062772"/>
              <a:gd name="connsiteX6" fmla="*/ 299 w 9147550"/>
              <a:gd name="connsiteY6" fmla="*/ 9709 h 4062772"/>
              <a:gd name="connsiteX0" fmla="*/ 299 w 9147550"/>
              <a:gd name="connsiteY0" fmla="*/ 0 h 4116437"/>
              <a:gd name="connsiteX1" fmla="*/ 9147184 w 9147550"/>
              <a:gd name="connsiteY1" fmla="*/ 53665 h 4116437"/>
              <a:gd name="connsiteX2" fmla="*/ 9146177 w 9147550"/>
              <a:gd name="connsiteY2" fmla="*/ 4115444 h 4116437"/>
              <a:gd name="connsiteX3" fmla="*/ 4573956 w 9147550"/>
              <a:gd name="connsiteY3" fmla="*/ 4116437 h 4116437"/>
              <a:gd name="connsiteX4" fmla="*/ 4576412 w 9147550"/>
              <a:gd name="connsiteY4" fmla="*/ 3573674 h 4116437"/>
              <a:gd name="connsiteX5" fmla="*/ 1734 w 9147550"/>
              <a:gd name="connsiteY5" fmla="*/ 3574987 h 4116437"/>
              <a:gd name="connsiteX6" fmla="*/ 299 w 9147550"/>
              <a:gd name="connsiteY6" fmla="*/ 0 h 4116437"/>
              <a:gd name="connsiteX0" fmla="*/ 299 w 9147550"/>
              <a:gd name="connsiteY0" fmla="*/ 5183 h 4121620"/>
              <a:gd name="connsiteX1" fmla="*/ 9147184 w 9147550"/>
              <a:gd name="connsiteY1" fmla="*/ 0 h 4121620"/>
              <a:gd name="connsiteX2" fmla="*/ 9146177 w 9147550"/>
              <a:gd name="connsiteY2" fmla="*/ 4120627 h 4121620"/>
              <a:gd name="connsiteX3" fmla="*/ 4573956 w 9147550"/>
              <a:gd name="connsiteY3" fmla="*/ 4121620 h 4121620"/>
              <a:gd name="connsiteX4" fmla="*/ 4576412 w 9147550"/>
              <a:gd name="connsiteY4" fmla="*/ 3578857 h 4121620"/>
              <a:gd name="connsiteX5" fmla="*/ 1734 w 9147550"/>
              <a:gd name="connsiteY5" fmla="*/ 3580170 h 4121620"/>
              <a:gd name="connsiteX6" fmla="*/ 299 w 9147550"/>
              <a:gd name="connsiteY6" fmla="*/ 5183 h 4121620"/>
              <a:gd name="connsiteX0" fmla="*/ 299 w 9147550"/>
              <a:gd name="connsiteY0" fmla="*/ 657 h 4117094"/>
              <a:gd name="connsiteX1" fmla="*/ 9147184 w 9147550"/>
              <a:gd name="connsiteY1" fmla="*/ 0 h 4117094"/>
              <a:gd name="connsiteX2" fmla="*/ 9146177 w 9147550"/>
              <a:gd name="connsiteY2" fmla="*/ 4116101 h 4117094"/>
              <a:gd name="connsiteX3" fmla="*/ 4573956 w 9147550"/>
              <a:gd name="connsiteY3" fmla="*/ 4117094 h 4117094"/>
              <a:gd name="connsiteX4" fmla="*/ 4576412 w 9147550"/>
              <a:gd name="connsiteY4" fmla="*/ 3574331 h 4117094"/>
              <a:gd name="connsiteX5" fmla="*/ 1734 w 9147550"/>
              <a:gd name="connsiteY5" fmla="*/ 3575644 h 4117094"/>
              <a:gd name="connsiteX6" fmla="*/ 299 w 9147550"/>
              <a:gd name="connsiteY6" fmla="*/ 657 h 4117094"/>
              <a:gd name="connsiteX0" fmla="*/ 299 w 9147550"/>
              <a:gd name="connsiteY0" fmla="*/ 657 h 4117094"/>
              <a:gd name="connsiteX1" fmla="*/ 9147184 w 9147550"/>
              <a:gd name="connsiteY1" fmla="*/ 0 h 4117094"/>
              <a:gd name="connsiteX2" fmla="*/ 9146177 w 9147550"/>
              <a:gd name="connsiteY2" fmla="*/ 4116101 h 4117094"/>
              <a:gd name="connsiteX3" fmla="*/ 4573956 w 9147550"/>
              <a:gd name="connsiteY3" fmla="*/ 4117094 h 4117094"/>
              <a:gd name="connsiteX4" fmla="*/ 4574006 w 9147550"/>
              <a:gd name="connsiteY4" fmla="*/ 3576738 h 4117094"/>
              <a:gd name="connsiteX5" fmla="*/ 1734 w 9147550"/>
              <a:gd name="connsiteY5" fmla="*/ 3575644 h 4117094"/>
              <a:gd name="connsiteX6" fmla="*/ 299 w 9147550"/>
              <a:gd name="connsiteY6" fmla="*/ 657 h 4117094"/>
              <a:gd name="connsiteX0" fmla="*/ 299 w 9147550"/>
              <a:gd name="connsiteY0" fmla="*/ 682144 h 4117094"/>
              <a:gd name="connsiteX1" fmla="*/ 9147184 w 9147550"/>
              <a:gd name="connsiteY1" fmla="*/ 0 h 4117094"/>
              <a:gd name="connsiteX2" fmla="*/ 9146177 w 9147550"/>
              <a:gd name="connsiteY2" fmla="*/ 4116101 h 4117094"/>
              <a:gd name="connsiteX3" fmla="*/ 4573956 w 9147550"/>
              <a:gd name="connsiteY3" fmla="*/ 4117094 h 4117094"/>
              <a:gd name="connsiteX4" fmla="*/ 4574006 w 9147550"/>
              <a:gd name="connsiteY4" fmla="*/ 3576738 h 4117094"/>
              <a:gd name="connsiteX5" fmla="*/ 1734 w 9147550"/>
              <a:gd name="connsiteY5" fmla="*/ 3575644 h 4117094"/>
              <a:gd name="connsiteX6" fmla="*/ 299 w 9147550"/>
              <a:gd name="connsiteY6" fmla="*/ 682144 h 4117094"/>
              <a:gd name="connsiteX0" fmla="*/ 299 w 9155947"/>
              <a:gd name="connsiteY0" fmla="*/ 26537 h 3461487"/>
              <a:gd name="connsiteX1" fmla="*/ 9155811 w 9155947"/>
              <a:gd name="connsiteY1" fmla="*/ 0 h 3461487"/>
              <a:gd name="connsiteX2" fmla="*/ 9146177 w 9155947"/>
              <a:gd name="connsiteY2" fmla="*/ 3460494 h 3461487"/>
              <a:gd name="connsiteX3" fmla="*/ 4573956 w 9155947"/>
              <a:gd name="connsiteY3" fmla="*/ 3461487 h 3461487"/>
              <a:gd name="connsiteX4" fmla="*/ 4574006 w 9155947"/>
              <a:gd name="connsiteY4" fmla="*/ 2921131 h 3461487"/>
              <a:gd name="connsiteX5" fmla="*/ 1734 w 9155947"/>
              <a:gd name="connsiteY5" fmla="*/ 2920037 h 3461487"/>
              <a:gd name="connsiteX6" fmla="*/ 299 w 9155947"/>
              <a:gd name="connsiteY6" fmla="*/ 26537 h 3461487"/>
              <a:gd name="connsiteX0" fmla="*/ 299 w 9155947"/>
              <a:gd name="connsiteY0" fmla="*/ 0 h 3676489"/>
              <a:gd name="connsiteX1" fmla="*/ 9155811 w 9155947"/>
              <a:gd name="connsiteY1" fmla="*/ 215002 h 3676489"/>
              <a:gd name="connsiteX2" fmla="*/ 9146177 w 9155947"/>
              <a:gd name="connsiteY2" fmla="*/ 3675496 h 3676489"/>
              <a:gd name="connsiteX3" fmla="*/ 4573956 w 9155947"/>
              <a:gd name="connsiteY3" fmla="*/ 3676489 h 3676489"/>
              <a:gd name="connsiteX4" fmla="*/ 4574006 w 9155947"/>
              <a:gd name="connsiteY4" fmla="*/ 3136133 h 3676489"/>
              <a:gd name="connsiteX5" fmla="*/ 1734 w 9155947"/>
              <a:gd name="connsiteY5" fmla="*/ 3135039 h 3676489"/>
              <a:gd name="connsiteX6" fmla="*/ 299 w 9155947"/>
              <a:gd name="connsiteY6" fmla="*/ 0 h 3676489"/>
              <a:gd name="connsiteX0" fmla="*/ 299 w 9155947"/>
              <a:gd name="connsiteY0" fmla="*/ 0 h 3693742"/>
              <a:gd name="connsiteX1" fmla="*/ 9155811 w 9155947"/>
              <a:gd name="connsiteY1" fmla="*/ 232255 h 3693742"/>
              <a:gd name="connsiteX2" fmla="*/ 9146177 w 9155947"/>
              <a:gd name="connsiteY2" fmla="*/ 3692749 h 3693742"/>
              <a:gd name="connsiteX3" fmla="*/ 4573956 w 9155947"/>
              <a:gd name="connsiteY3" fmla="*/ 3693742 h 3693742"/>
              <a:gd name="connsiteX4" fmla="*/ 4574006 w 9155947"/>
              <a:gd name="connsiteY4" fmla="*/ 3153386 h 3693742"/>
              <a:gd name="connsiteX5" fmla="*/ 1734 w 9155947"/>
              <a:gd name="connsiteY5" fmla="*/ 3152292 h 3693742"/>
              <a:gd name="connsiteX6" fmla="*/ 299 w 9155947"/>
              <a:gd name="connsiteY6" fmla="*/ 0 h 3693742"/>
              <a:gd name="connsiteX0" fmla="*/ 7191 w 9154213"/>
              <a:gd name="connsiteY0" fmla="*/ 0 h 3685116"/>
              <a:gd name="connsiteX1" fmla="*/ 9154077 w 9154213"/>
              <a:gd name="connsiteY1" fmla="*/ 223629 h 3685116"/>
              <a:gd name="connsiteX2" fmla="*/ 9144443 w 9154213"/>
              <a:gd name="connsiteY2" fmla="*/ 3684123 h 3685116"/>
              <a:gd name="connsiteX3" fmla="*/ 4572222 w 9154213"/>
              <a:gd name="connsiteY3" fmla="*/ 3685116 h 3685116"/>
              <a:gd name="connsiteX4" fmla="*/ 4572272 w 9154213"/>
              <a:gd name="connsiteY4" fmla="*/ 3144760 h 3685116"/>
              <a:gd name="connsiteX5" fmla="*/ 0 w 9154213"/>
              <a:gd name="connsiteY5" fmla="*/ 3143666 h 3685116"/>
              <a:gd name="connsiteX6" fmla="*/ 7191 w 9154213"/>
              <a:gd name="connsiteY6" fmla="*/ 0 h 3685116"/>
              <a:gd name="connsiteX0" fmla="*/ 7191 w 9154213"/>
              <a:gd name="connsiteY0" fmla="*/ 0 h 3685116"/>
              <a:gd name="connsiteX1" fmla="*/ 9154077 w 9154213"/>
              <a:gd name="connsiteY1" fmla="*/ 16595 h 3685116"/>
              <a:gd name="connsiteX2" fmla="*/ 9144443 w 9154213"/>
              <a:gd name="connsiteY2" fmla="*/ 3684123 h 3685116"/>
              <a:gd name="connsiteX3" fmla="*/ 4572222 w 9154213"/>
              <a:gd name="connsiteY3" fmla="*/ 3685116 h 3685116"/>
              <a:gd name="connsiteX4" fmla="*/ 4572272 w 9154213"/>
              <a:gd name="connsiteY4" fmla="*/ 3144760 h 3685116"/>
              <a:gd name="connsiteX5" fmla="*/ 0 w 9154213"/>
              <a:gd name="connsiteY5" fmla="*/ 3143666 h 3685116"/>
              <a:gd name="connsiteX6" fmla="*/ 7191 w 9154213"/>
              <a:gd name="connsiteY6" fmla="*/ 0 h 3685116"/>
              <a:gd name="connsiteX0" fmla="*/ 7191 w 9154213"/>
              <a:gd name="connsiteY0" fmla="*/ 0 h 3685116"/>
              <a:gd name="connsiteX1" fmla="*/ 9154077 w 9154213"/>
              <a:gd name="connsiteY1" fmla="*/ 16595 h 3685116"/>
              <a:gd name="connsiteX2" fmla="*/ 9144443 w 9154213"/>
              <a:gd name="connsiteY2" fmla="*/ 3684123 h 3685116"/>
              <a:gd name="connsiteX3" fmla="*/ 4572222 w 9154213"/>
              <a:gd name="connsiteY3" fmla="*/ 3685116 h 3685116"/>
              <a:gd name="connsiteX4" fmla="*/ 4572272 w 9154213"/>
              <a:gd name="connsiteY4" fmla="*/ 3144760 h 3685116"/>
              <a:gd name="connsiteX5" fmla="*/ 0 w 9154213"/>
              <a:gd name="connsiteY5" fmla="*/ 3151830 h 3685116"/>
              <a:gd name="connsiteX6" fmla="*/ 7191 w 9154213"/>
              <a:gd name="connsiteY6" fmla="*/ 0 h 3685116"/>
              <a:gd name="connsiteX0" fmla="*/ 7191 w 9154213"/>
              <a:gd name="connsiteY0" fmla="*/ 0 h 3685116"/>
              <a:gd name="connsiteX1" fmla="*/ 9154077 w 9154213"/>
              <a:gd name="connsiteY1" fmla="*/ 16595 h 3685116"/>
              <a:gd name="connsiteX2" fmla="*/ 9144443 w 9154213"/>
              <a:gd name="connsiteY2" fmla="*/ 3684123 h 3685116"/>
              <a:gd name="connsiteX3" fmla="*/ 4572222 w 9154213"/>
              <a:gd name="connsiteY3" fmla="*/ 3685116 h 3685116"/>
              <a:gd name="connsiteX4" fmla="*/ 4572272 w 9154213"/>
              <a:gd name="connsiteY4" fmla="*/ 3152924 h 3685116"/>
              <a:gd name="connsiteX5" fmla="*/ 0 w 9154213"/>
              <a:gd name="connsiteY5" fmla="*/ 3151830 h 3685116"/>
              <a:gd name="connsiteX6" fmla="*/ 7191 w 9154213"/>
              <a:gd name="connsiteY6" fmla="*/ 0 h 3685116"/>
              <a:gd name="connsiteX0" fmla="*/ 7191 w 9154213"/>
              <a:gd name="connsiteY0" fmla="*/ 0 h 3734102"/>
              <a:gd name="connsiteX1" fmla="*/ 9154077 w 9154213"/>
              <a:gd name="connsiteY1" fmla="*/ 16595 h 3734102"/>
              <a:gd name="connsiteX2" fmla="*/ 9144443 w 9154213"/>
              <a:gd name="connsiteY2" fmla="*/ 3684123 h 3734102"/>
              <a:gd name="connsiteX3" fmla="*/ 4572222 w 9154213"/>
              <a:gd name="connsiteY3" fmla="*/ 3734102 h 3734102"/>
              <a:gd name="connsiteX4" fmla="*/ 4572272 w 9154213"/>
              <a:gd name="connsiteY4" fmla="*/ 3152924 h 3734102"/>
              <a:gd name="connsiteX5" fmla="*/ 0 w 9154213"/>
              <a:gd name="connsiteY5" fmla="*/ 3151830 h 3734102"/>
              <a:gd name="connsiteX6" fmla="*/ 7191 w 9154213"/>
              <a:gd name="connsiteY6" fmla="*/ 0 h 3734102"/>
              <a:gd name="connsiteX0" fmla="*/ 7191 w 9154247"/>
              <a:gd name="connsiteY0" fmla="*/ 0 h 3734102"/>
              <a:gd name="connsiteX1" fmla="*/ 9154077 w 9154247"/>
              <a:gd name="connsiteY1" fmla="*/ 16595 h 3734102"/>
              <a:gd name="connsiteX2" fmla="*/ 9147164 w 9154247"/>
              <a:gd name="connsiteY2" fmla="*/ 3733108 h 3734102"/>
              <a:gd name="connsiteX3" fmla="*/ 4572222 w 9154247"/>
              <a:gd name="connsiteY3" fmla="*/ 3734102 h 3734102"/>
              <a:gd name="connsiteX4" fmla="*/ 4572272 w 9154247"/>
              <a:gd name="connsiteY4" fmla="*/ 3152924 h 3734102"/>
              <a:gd name="connsiteX5" fmla="*/ 0 w 9154247"/>
              <a:gd name="connsiteY5" fmla="*/ 3151830 h 3734102"/>
              <a:gd name="connsiteX6" fmla="*/ 7191 w 9154247"/>
              <a:gd name="connsiteY6" fmla="*/ 0 h 3734102"/>
              <a:gd name="connsiteX0" fmla="*/ 7191 w 9162964"/>
              <a:gd name="connsiteY0" fmla="*/ 0 h 3734102"/>
              <a:gd name="connsiteX1" fmla="*/ 9162870 w 9162964"/>
              <a:gd name="connsiteY1" fmla="*/ 16595 h 3734102"/>
              <a:gd name="connsiteX2" fmla="*/ 9147164 w 9162964"/>
              <a:gd name="connsiteY2" fmla="*/ 3733108 h 3734102"/>
              <a:gd name="connsiteX3" fmla="*/ 4572222 w 9162964"/>
              <a:gd name="connsiteY3" fmla="*/ 3734102 h 3734102"/>
              <a:gd name="connsiteX4" fmla="*/ 4572272 w 9162964"/>
              <a:gd name="connsiteY4" fmla="*/ 3152924 h 3734102"/>
              <a:gd name="connsiteX5" fmla="*/ 0 w 9162964"/>
              <a:gd name="connsiteY5" fmla="*/ 3151830 h 3734102"/>
              <a:gd name="connsiteX6" fmla="*/ 7191 w 9162964"/>
              <a:gd name="connsiteY6" fmla="*/ 0 h 3734102"/>
              <a:gd name="connsiteX0" fmla="*/ 307 w 9164573"/>
              <a:gd name="connsiteY0" fmla="*/ 0 h 3734102"/>
              <a:gd name="connsiteX1" fmla="*/ 9164479 w 9164573"/>
              <a:gd name="connsiteY1" fmla="*/ 16595 h 3734102"/>
              <a:gd name="connsiteX2" fmla="*/ 9148773 w 9164573"/>
              <a:gd name="connsiteY2" fmla="*/ 3733108 h 3734102"/>
              <a:gd name="connsiteX3" fmla="*/ 4573831 w 9164573"/>
              <a:gd name="connsiteY3" fmla="*/ 3734102 h 3734102"/>
              <a:gd name="connsiteX4" fmla="*/ 4573881 w 9164573"/>
              <a:gd name="connsiteY4" fmla="*/ 3152924 h 3734102"/>
              <a:gd name="connsiteX5" fmla="*/ 1609 w 9164573"/>
              <a:gd name="connsiteY5" fmla="*/ 3151830 h 3734102"/>
              <a:gd name="connsiteX6" fmla="*/ 307 w 9164573"/>
              <a:gd name="connsiteY6" fmla="*/ 0 h 3734102"/>
              <a:gd name="connsiteX0" fmla="*/ 1529 w 9165795"/>
              <a:gd name="connsiteY0" fmla="*/ 0 h 3734102"/>
              <a:gd name="connsiteX1" fmla="*/ 9165701 w 9165795"/>
              <a:gd name="connsiteY1" fmla="*/ 16595 h 3734102"/>
              <a:gd name="connsiteX2" fmla="*/ 9149995 w 9165795"/>
              <a:gd name="connsiteY2" fmla="*/ 3733108 h 3734102"/>
              <a:gd name="connsiteX3" fmla="*/ 4575053 w 9165795"/>
              <a:gd name="connsiteY3" fmla="*/ 3734102 h 3734102"/>
              <a:gd name="connsiteX4" fmla="*/ 4575103 w 9165795"/>
              <a:gd name="connsiteY4" fmla="*/ 3152924 h 3734102"/>
              <a:gd name="connsiteX5" fmla="*/ 0 w 9165795"/>
              <a:gd name="connsiteY5" fmla="*/ 3140506 h 3734102"/>
              <a:gd name="connsiteX6" fmla="*/ 1529 w 9165795"/>
              <a:gd name="connsiteY6" fmla="*/ 0 h 3734102"/>
              <a:gd name="connsiteX0" fmla="*/ 1529 w 9154597"/>
              <a:gd name="connsiteY0" fmla="*/ 391 h 3734493"/>
              <a:gd name="connsiteX1" fmla="*/ 9154377 w 9154597"/>
              <a:gd name="connsiteY1" fmla="*/ 0 h 3734493"/>
              <a:gd name="connsiteX2" fmla="*/ 9149995 w 9154597"/>
              <a:gd name="connsiteY2" fmla="*/ 3733499 h 3734493"/>
              <a:gd name="connsiteX3" fmla="*/ 4575053 w 9154597"/>
              <a:gd name="connsiteY3" fmla="*/ 3734493 h 3734493"/>
              <a:gd name="connsiteX4" fmla="*/ 4575103 w 9154597"/>
              <a:gd name="connsiteY4" fmla="*/ 3153315 h 3734493"/>
              <a:gd name="connsiteX5" fmla="*/ 0 w 9154597"/>
              <a:gd name="connsiteY5" fmla="*/ 3140897 h 3734493"/>
              <a:gd name="connsiteX6" fmla="*/ 1529 w 9154597"/>
              <a:gd name="connsiteY6" fmla="*/ 391 h 3734493"/>
              <a:gd name="connsiteX0" fmla="*/ 1529 w 9154707"/>
              <a:gd name="connsiteY0" fmla="*/ 391 h 3734493"/>
              <a:gd name="connsiteX1" fmla="*/ 9154377 w 9154707"/>
              <a:gd name="connsiteY1" fmla="*/ 0 h 3734493"/>
              <a:gd name="connsiteX2" fmla="*/ 9152826 w 9154707"/>
              <a:gd name="connsiteY2" fmla="*/ 3719344 h 3734493"/>
              <a:gd name="connsiteX3" fmla="*/ 4575053 w 9154707"/>
              <a:gd name="connsiteY3" fmla="*/ 3734493 h 3734493"/>
              <a:gd name="connsiteX4" fmla="*/ 4575103 w 9154707"/>
              <a:gd name="connsiteY4" fmla="*/ 3153315 h 3734493"/>
              <a:gd name="connsiteX5" fmla="*/ 0 w 9154707"/>
              <a:gd name="connsiteY5" fmla="*/ 3140897 h 3734493"/>
              <a:gd name="connsiteX6" fmla="*/ 1529 w 9154707"/>
              <a:gd name="connsiteY6" fmla="*/ 391 h 3734493"/>
              <a:gd name="connsiteX0" fmla="*/ 1529 w 9154707"/>
              <a:gd name="connsiteY0" fmla="*/ 391 h 3720338"/>
              <a:gd name="connsiteX1" fmla="*/ 9154377 w 9154707"/>
              <a:gd name="connsiteY1" fmla="*/ 0 h 3720338"/>
              <a:gd name="connsiteX2" fmla="*/ 9152826 w 9154707"/>
              <a:gd name="connsiteY2" fmla="*/ 3719344 h 3720338"/>
              <a:gd name="connsiteX3" fmla="*/ 4575053 w 9154707"/>
              <a:gd name="connsiteY3" fmla="*/ 3720338 h 3720338"/>
              <a:gd name="connsiteX4" fmla="*/ 4575103 w 9154707"/>
              <a:gd name="connsiteY4" fmla="*/ 3153315 h 3720338"/>
              <a:gd name="connsiteX5" fmla="*/ 0 w 9154707"/>
              <a:gd name="connsiteY5" fmla="*/ 3140897 h 3720338"/>
              <a:gd name="connsiteX6" fmla="*/ 1529 w 9154707"/>
              <a:gd name="connsiteY6" fmla="*/ 391 h 3720338"/>
              <a:gd name="connsiteX0" fmla="*/ 1529 w 9154707"/>
              <a:gd name="connsiteY0" fmla="*/ 391 h 3720338"/>
              <a:gd name="connsiteX1" fmla="*/ 9154377 w 9154707"/>
              <a:gd name="connsiteY1" fmla="*/ 0 h 3720338"/>
              <a:gd name="connsiteX2" fmla="*/ 9152826 w 9154707"/>
              <a:gd name="connsiteY2" fmla="*/ 3719344 h 3720338"/>
              <a:gd name="connsiteX3" fmla="*/ 4575053 w 9154707"/>
              <a:gd name="connsiteY3" fmla="*/ 3720338 h 3720338"/>
              <a:gd name="connsiteX4" fmla="*/ 4577934 w 9154707"/>
              <a:gd name="connsiteY4" fmla="*/ 3141991 h 3720338"/>
              <a:gd name="connsiteX5" fmla="*/ 0 w 9154707"/>
              <a:gd name="connsiteY5" fmla="*/ 3140897 h 3720338"/>
              <a:gd name="connsiteX6" fmla="*/ 1529 w 9154707"/>
              <a:gd name="connsiteY6" fmla="*/ 391 h 3720338"/>
              <a:gd name="connsiteX0" fmla="*/ 1529 w 9154707"/>
              <a:gd name="connsiteY0" fmla="*/ 391 h 3720338"/>
              <a:gd name="connsiteX1" fmla="*/ 9154377 w 9154707"/>
              <a:gd name="connsiteY1" fmla="*/ 0 h 3720338"/>
              <a:gd name="connsiteX2" fmla="*/ 9152826 w 9154707"/>
              <a:gd name="connsiteY2" fmla="*/ 3719344 h 3720338"/>
              <a:gd name="connsiteX3" fmla="*/ 4575053 w 9154707"/>
              <a:gd name="connsiteY3" fmla="*/ 3720338 h 3720338"/>
              <a:gd name="connsiteX4" fmla="*/ 3601621 w 9154707"/>
              <a:gd name="connsiteY4" fmla="*/ 3141991 h 3720338"/>
              <a:gd name="connsiteX5" fmla="*/ 0 w 9154707"/>
              <a:gd name="connsiteY5" fmla="*/ 3140897 h 3720338"/>
              <a:gd name="connsiteX6" fmla="*/ 1529 w 9154707"/>
              <a:gd name="connsiteY6" fmla="*/ 391 h 3720338"/>
              <a:gd name="connsiteX0" fmla="*/ 1529 w 9154707"/>
              <a:gd name="connsiteY0" fmla="*/ 391 h 3720338"/>
              <a:gd name="connsiteX1" fmla="*/ 9154377 w 9154707"/>
              <a:gd name="connsiteY1" fmla="*/ 0 h 3720338"/>
              <a:gd name="connsiteX2" fmla="*/ 9152826 w 9154707"/>
              <a:gd name="connsiteY2" fmla="*/ 3719344 h 3720338"/>
              <a:gd name="connsiteX3" fmla="*/ 3598741 w 9154707"/>
              <a:gd name="connsiteY3" fmla="*/ 3720338 h 3720338"/>
              <a:gd name="connsiteX4" fmla="*/ 3601621 w 9154707"/>
              <a:gd name="connsiteY4" fmla="*/ 3141991 h 3720338"/>
              <a:gd name="connsiteX5" fmla="*/ 0 w 9154707"/>
              <a:gd name="connsiteY5" fmla="*/ 3140897 h 3720338"/>
              <a:gd name="connsiteX6" fmla="*/ 1529 w 9154707"/>
              <a:gd name="connsiteY6" fmla="*/ 391 h 3720338"/>
              <a:gd name="connsiteX0" fmla="*/ 1529 w 9154707"/>
              <a:gd name="connsiteY0" fmla="*/ 391 h 3720338"/>
              <a:gd name="connsiteX1" fmla="*/ 9154377 w 9154707"/>
              <a:gd name="connsiteY1" fmla="*/ 0 h 3720338"/>
              <a:gd name="connsiteX2" fmla="*/ 9152826 w 9154707"/>
              <a:gd name="connsiteY2" fmla="*/ 3719344 h 3720338"/>
              <a:gd name="connsiteX3" fmla="*/ 3598741 w 9154707"/>
              <a:gd name="connsiteY3" fmla="*/ 3720338 h 3720338"/>
              <a:gd name="connsiteX4" fmla="*/ 4111449 w 9154707"/>
              <a:gd name="connsiteY4" fmla="*/ 3138702 h 3720338"/>
              <a:gd name="connsiteX5" fmla="*/ 0 w 9154707"/>
              <a:gd name="connsiteY5" fmla="*/ 3140897 h 3720338"/>
              <a:gd name="connsiteX6" fmla="*/ 1529 w 9154707"/>
              <a:gd name="connsiteY6" fmla="*/ 391 h 3720338"/>
              <a:gd name="connsiteX0" fmla="*/ 1529 w 9154707"/>
              <a:gd name="connsiteY0" fmla="*/ 391 h 3719344"/>
              <a:gd name="connsiteX1" fmla="*/ 9154377 w 9154707"/>
              <a:gd name="connsiteY1" fmla="*/ 0 h 3719344"/>
              <a:gd name="connsiteX2" fmla="*/ 9152826 w 9154707"/>
              <a:gd name="connsiteY2" fmla="*/ 3719344 h 3719344"/>
              <a:gd name="connsiteX3" fmla="*/ 4105279 w 9154707"/>
              <a:gd name="connsiteY3" fmla="*/ 3717048 h 3719344"/>
              <a:gd name="connsiteX4" fmla="*/ 4111449 w 9154707"/>
              <a:gd name="connsiteY4" fmla="*/ 3138702 h 3719344"/>
              <a:gd name="connsiteX5" fmla="*/ 0 w 9154707"/>
              <a:gd name="connsiteY5" fmla="*/ 3140897 h 3719344"/>
              <a:gd name="connsiteX6" fmla="*/ 1529 w 9154707"/>
              <a:gd name="connsiteY6" fmla="*/ 391 h 3719344"/>
              <a:gd name="connsiteX0" fmla="*/ 1529 w 9154707"/>
              <a:gd name="connsiteY0" fmla="*/ 391 h 3719344"/>
              <a:gd name="connsiteX1" fmla="*/ 9154377 w 9154707"/>
              <a:gd name="connsiteY1" fmla="*/ 0 h 3719344"/>
              <a:gd name="connsiteX2" fmla="*/ 9152826 w 9154707"/>
              <a:gd name="connsiteY2" fmla="*/ 3719344 h 3719344"/>
              <a:gd name="connsiteX3" fmla="*/ 4113746 w 9154707"/>
              <a:gd name="connsiteY3" fmla="*/ 3717048 h 3719344"/>
              <a:gd name="connsiteX4" fmla="*/ 4111449 w 9154707"/>
              <a:gd name="connsiteY4" fmla="*/ 3138702 h 3719344"/>
              <a:gd name="connsiteX5" fmla="*/ 0 w 9154707"/>
              <a:gd name="connsiteY5" fmla="*/ 3140897 h 3719344"/>
              <a:gd name="connsiteX6" fmla="*/ 1529 w 9154707"/>
              <a:gd name="connsiteY6" fmla="*/ 391 h 3719344"/>
              <a:gd name="connsiteX0" fmla="*/ 1529 w 9154707"/>
              <a:gd name="connsiteY0" fmla="*/ 391 h 3719344"/>
              <a:gd name="connsiteX1" fmla="*/ 9154377 w 9154707"/>
              <a:gd name="connsiteY1" fmla="*/ 0 h 3719344"/>
              <a:gd name="connsiteX2" fmla="*/ 9152826 w 9154707"/>
              <a:gd name="connsiteY2" fmla="*/ 3719344 h 3719344"/>
              <a:gd name="connsiteX3" fmla="*/ 4110924 w 9154707"/>
              <a:gd name="connsiteY3" fmla="*/ 3717048 h 3719344"/>
              <a:gd name="connsiteX4" fmla="*/ 4111449 w 9154707"/>
              <a:gd name="connsiteY4" fmla="*/ 3138702 h 3719344"/>
              <a:gd name="connsiteX5" fmla="*/ 0 w 9154707"/>
              <a:gd name="connsiteY5" fmla="*/ 3140897 h 3719344"/>
              <a:gd name="connsiteX6" fmla="*/ 1529 w 9154707"/>
              <a:gd name="connsiteY6" fmla="*/ 391 h 3719344"/>
              <a:gd name="connsiteX0" fmla="*/ 1529 w 9154707"/>
              <a:gd name="connsiteY0" fmla="*/ 391 h 3719344"/>
              <a:gd name="connsiteX1" fmla="*/ 9154377 w 9154707"/>
              <a:gd name="connsiteY1" fmla="*/ 0 h 3719344"/>
              <a:gd name="connsiteX2" fmla="*/ 9152826 w 9154707"/>
              <a:gd name="connsiteY2" fmla="*/ 3719344 h 3719344"/>
              <a:gd name="connsiteX3" fmla="*/ 4110924 w 9154707"/>
              <a:gd name="connsiteY3" fmla="*/ 3717048 h 3719344"/>
              <a:gd name="connsiteX4" fmla="*/ 4108627 w 9154707"/>
              <a:gd name="connsiteY4" fmla="*/ 3141524 h 3719344"/>
              <a:gd name="connsiteX5" fmla="*/ 0 w 9154707"/>
              <a:gd name="connsiteY5" fmla="*/ 3140897 h 3719344"/>
              <a:gd name="connsiteX6" fmla="*/ 1529 w 9154707"/>
              <a:gd name="connsiteY6" fmla="*/ 391 h 3719344"/>
              <a:gd name="connsiteX0" fmla="*/ 1529 w 9154707"/>
              <a:gd name="connsiteY0" fmla="*/ 391 h 3719344"/>
              <a:gd name="connsiteX1" fmla="*/ 9154377 w 9154707"/>
              <a:gd name="connsiteY1" fmla="*/ 0 h 3719344"/>
              <a:gd name="connsiteX2" fmla="*/ 9152826 w 9154707"/>
              <a:gd name="connsiteY2" fmla="*/ 3719344 h 3719344"/>
              <a:gd name="connsiteX3" fmla="*/ 4110924 w 9154707"/>
              <a:gd name="connsiteY3" fmla="*/ 3717048 h 3719344"/>
              <a:gd name="connsiteX4" fmla="*/ 4111450 w 9154707"/>
              <a:gd name="connsiteY4" fmla="*/ 3141524 h 3719344"/>
              <a:gd name="connsiteX5" fmla="*/ 0 w 9154707"/>
              <a:gd name="connsiteY5" fmla="*/ 3140897 h 3719344"/>
              <a:gd name="connsiteX6" fmla="*/ 1529 w 9154707"/>
              <a:gd name="connsiteY6" fmla="*/ 391 h 371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4707" h="3719344">
                <a:moveTo>
                  <a:pt x="1529" y="391"/>
                </a:moveTo>
                <a:lnTo>
                  <a:pt x="9154377" y="0"/>
                </a:lnTo>
                <a:cubicBezTo>
                  <a:pt x="9155964" y="1278732"/>
                  <a:pt x="9151239" y="2440612"/>
                  <a:pt x="9152826" y="3719344"/>
                </a:cubicBezTo>
                <a:lnTo>
                  <a:pt x="4110924" y="3717048"/>
                </a:lnTo>
                <a:cubicBezTo>
                  <a:pt x="4112369" y="3628931"/>
                  <a:pt x="4110005" y="3229641"/>
                  <a:pt x="4111450" y="3141524"/>
                </a:cubicBezTo>
                <a:lnTo>
                  <a:pt x="0" y="3140897"/>
                </a:lnTo>
                <a:cubicBezTo>
                  <a:pt x="1445" y="1965221"/>
                  <a:pt x="84" y="1176067"/>
                  <a:pt x="1529" y="391"/>
                </a:cubicBezTo>
                <a:close/>
              </a:path>
            </a:pathLst>
          </a:custGeom>
          <a:pattFill prst="wdUpDiag">
            <a:fgClr>
              <a:schemeClr val="bg1">
                <a:lumMod val="75000"/>
              </a:schemeClr>
            </a:fgClr>
            <a:bgClr>
              <a:schemeClr val="bg1"/>
            </a:bgClr>
          </a:pattFill>
        </p:spPr>
        <p:txBody>
          <a:bodyPr lIns="180000" tIns="180000"/>
          <a:lstStyle>
            <a:lvl1pPr marL="0" indent="0">
              <a:buNone/>
              <a:defRPr sz="2000">
                <a:latin typeface="BMW Type Global Pro Regular" pitchFamily="2" charset="0"/>
                <a:ea typeface="BMW Type Global Pro Regular" pitchFamily="2" charset="0"/>
                <a:cs typeface="BMW Type Global Pro Regular" pitchFamily="2" charset="0"/>
              </a:defRPr>
            </a:lvl1pPr>
          </a:lstStyle>
          <a:p>
            <a:r>
              <a:rPr lang="de-DE" dirty="0" smtClean="0"/>
              <a:t>Bild durch Klicken auf das Symbol einfügen</a:t>
            </a:r>
            <a:endParaRPr lang="de-DE" dirty="0"/>
          </a:p>
        </p:txBody>
      </p:sp>
      <p:sp>
        <p:nvSpPr>
          <p:cNvPr id="9" name="Textplatzhalter 8"/>
          <p:cNvSpPr>
            <a:spLocks noGrp="1"/>
          </p:cNvSpPr>
          <p:nvPr>
            <p:ph type="body" sz="quarter" idx="13" hasCustomPrompt="1"/>
          </p:nvPr>
        </p:nvSpPr>
        <p:spPr>
          <a:xfrm>
            <a:off x="456082" y="4233649"/>
            <a:ext cx="8218866" cy="544645"/>
          </a:xfrm>
          <a:prstGeom prst="rect">
            <a:avLst/>
          </a:prstGeom>
        </p:spPr>
        <p:txBody>
          <a:bodyPr lIns="0" tIns="0" rIns="0" bIns="0">
            <a:noAutofit/>
          </a:bodyPr>
          <a:lstStyle>
            <a:lvl1pPr marL="0" indent="0">
              <a:lnSpc>
                <a:spcPts val="4000"/>
              </a:lnSpc>
              <a:spcBef>
                <a:spcPts val="0"/>
              </a:spcBef>
              <a:buNone/>
              <a:defRPr sz="3600" b="1" cap="all" baseline="0">
                <a:solidFill>
                  <a:schemeClr val="bg2"/>
                </a:solidFill>
                <a:latin typeface="+mj-lt"/>
              </a:defRPr>
            </a:lvl1pPr>
          </a:lstStyle>
          <a:p>
            <a:pPr lvl="0"/>
            <a:r>
              <a:rPr lang="de-DE" dirty="0" err="1" smtClean="0"/>
              <a:t>titel</a:t>
            </a:r>
            <a:r>
              <a:rPr lang="de-DE" dirty="0" smtClean="0"/>
              <a:t> DURCH KLICKEN BEARBEITEN</a:t>
            </a:r>
          </a:p>
        </p:txBody>
      </p:sp>
      <p:sp>
        <p:nvSpPr>
          <p:cNvPr id="11" name="Textplatzhalter 8"/>
          <p:cNvSpPr>
            <a:spLocks noGrp="1"/>
          </p:cNvSpPr>
          <p:nvPr>
            <p:ph type="body" sz="quarter" idx="14" hasCustomPrompt="1"/>
          </p:nvPr>
        </p:nvSpPr>
        <p:spPr>
          <a:xfrm>
            <a:off x="467566" y="4853838"/>
            <a:ext cx="8209709" cy="534059"/>
          </a:xfrm>
          <a:prstGeom prst="rect">
            <a:avLst/>
          </a:prstGeom>
        </p:spPr>
        <p:txBody>
          <a:bodyPr lIns="0" tIns="0" rIns="0" bIns="0"/>
          <a:lstStyle>
            <a:lvl1pPr marL="0" indent="0">
              <a:lnSpc>
                <a:spcPts val="2100"/>
              </a:lnSpc>
              <a:spcBef>
                <a:spcPts val="0"/>
              </a:spcBef>
              <a:buNone/>
              <a:defRPr sz="2000" b="1" cap="all" baseline="0">
                <a:latin typeface="+mj-lt"/>
              </a:defRPr>
            </a:lvl1pPr>
          </a:lstStyle>
          <a:p>
            <a:pPr lvl="0"/>
            <a:r>
              <a:rPr lang="de-DE" dirty="0" smtClean="0"/>
              <a:t>Subheadline durch klicken bearbeiten</a:t>
            </a:r>
          </a:p>
        </p:txBody>
      </p:sp>
      <p:sp>
        <p:nvSpPr>
          <p:cNvPr id="13" name="Textplatzhalter 24"/>
          <p:cNvSpPr>
            <a:spLocks noGrp="1"/>
          </p:cNvSpPr>
          <p:nvPr>
            <p:ph type="body" sz="quarter" idx="18" hasCustomPrompt="1"/>
          </p:nvPr>
        </p:nvSpPr>
        <p:spPr>
          <a:xfrm>
            <a:off x="467570" y="3360108"/>
            <a:ext cx="2508548" cy="319415"/>
          </a:xfrm>
          <a:prstGeom prst="rect">
            <a:avLst/>
          </a:prstGeom>
        </p:spPr>
        <p:txBody>
          <a:bodyPr lIns="0" tIns="0" rIns="0" bIns="0"/>
          <a:lstStyle>
            <a:lvl1pPr marL="0" indent="0">
              <a:buNone/>
              <a:defRPr sz="1100">
                <a:latin typeface="BMWTypeCondensedRegular" pitchFamily="34" charset="0"/>
                <a:ea typeface="BMW Type Global Pro Regular" pitchFamily="2" charset="0"/>
                <a:cs typeface="BMW Type Global Pro Regular" pitchFamily="2" charset="0"/>
              </a:defRPr>
            </a:lvl1pPr>
            <a:lvl2pPr>
              <a:defRPr sz="1700"/>
            </a:lvl2pPr>
            <a:lvl3pPr>
              <a:defRPr sz="1700"/>
            </a:lvl3pPr>
            <a:lvl4pPr>
              <a:defRPr sz="1700"/>
            </a:lvl4pPr>
            <a:lvl5pPr>
              <a:defRPr sz="1700"/>
            </a:lvl5pPr>
          </a:lstStyle>
          <a:p>
            <a:pPr lvl="0"/>
            <a:r>
              <a:rPr lang="de-DE" dirty="0" smtClean="0"/>
              <a:t>Abteilung und Datum eingeben</a:t>
            </a:r>
          </a:p>
        </p:txBody>
      </p:sp>
      <p:pic>
        <p:nvPicPr>
          <p:cNvPr id="17" name="Bild 7" descr="WortmarkeBMWGROUP Kopie.jpg"/>
          <p:cNvPicPr>
            <a:picLocks noChangeAspect="1"/>
          </p:cNvPicPr>
          <p:nvPr userDrawn="1"/>
        </p:nvPicPr>
        <p:blipFill>
          <a:blip r:embed="rId2" cstate="screen">
            <a:extLst>
              <a:ext uri="{28A0092B-C50C-407E-A947-70E740481C1C}">
                <a14:useLocalDpi xmlns="" xmlns:a14="http://schemas.microsoft.com/office/drawing/2010/main" val="0"/>
              </a:ext>
            </a:extLst>
          </a:blip>
          <a:srcRect/>
          <a:stretch>
            <a:fillRect/>
          </a:stretch>
        </p:blipFill>
        <p:spPr bwMode="auto">
          <a:xfrm>
            <a:off x="461064" y="6031922"/>
            <a:ext cx="909281" cy="4320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Bild 8" descr="BMWMINIRR_5fbg Kopie.jpg"/>
          <p:cNvPicPr>
            <a:picLocks noChangeAspect="1"/>
          </p:cNvPicPr>
          <p:nvPr userDrawn="1"/>
        </p:nvPicPr>
        <p:blipFill>
          <a:blip r:embed="rId3" cstate="screen">
            <a:extLst>
              <a:ext uri="{28A0092B-C50C-407E-A947-70E740481C1C}">
                <a14:useLocalDpi xmlns="" xmlns:a14="http://schemas.microsoft.com/office/drawing/2010/main" val="0"/>
              </a:ext>
            </a:extLst>
          </a:blip>
          <a:srcRect/>
          <a:stretch>
            <a:fillRect/>
          </a:stretch>
        </p:blipFill>
        <p:spPr bwMode="auto">
          <a:xfrm>
            <a:off x="7350455" y="6021288"/>
            <a:ext cx="1337701" cy="44160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 xmlns:p14="http://schemas.microsoft.com/office/powerpoint/2010/main" val="384950377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1_Fließtext">
    <p:spTree>
      <p:nvGrpSpPr>
        <p:cNvPr id="1" name=""/>
        <p:cNvGrpSpPr/>
        <p:nvPr/>
      </p:nvGrpSpPr>
      <p:grpSpPr>
        <a:xfrm>
          <a:off x="0" y="0"/>
          <a:ext cx="0" cy="0"/>
          <a:chOff x="0" y="0"/>
          <a:chExt cx="0" cy="0"/>
        </a:xfrm>
      </p:grpSpPr>
      <p:sp>
        <p:nvSpPr>
          <p:cNvPr id="5" name="Textplatzhalter 8"/>
          <p:cNvSpPr>
            <a:spLocks noGrp="1"/>
          </p:cNvSpPr>
          <p:nvPr>
            <p:ph type="body" sz="quarter" idx="13" hasCustomPrompt="1"/>
          </p:nvPr>
        </p:nvSpPr>
        <p:spPr>
          <a:xfrm>
            <a:off x="459687" y="403225"/>
            <a:ext cx="8217588" cy="960437"/>
          </a:xfrm>
          <a:prstGeom prst="rect">
            <a:avLst/>
          </a:prstGeom>
        </p:spPr>
        <p:txBody>
          <a:bodyPr lIns="0" tIns="0" rIns="0" bIns="0">
            <a:noAutofit/>
          </a:bodyPr>
          <a:lstStyle>
            <a:lvl1pPr marL="0" indent="0">
              <a:lnSpc>
                <a:spcPts val="2800"/>
              </a:lnSpc>
              <a:spcBef>
                <a:spcPts val="0"/>
              </a:spcBef>
              <a:buNone/>
              <a:defRPr sz="2800" b="1" cap="all" baseline="0">
                <a:solidFill>
                  <a:schemeClr val="bg2"/>
                </a:solidFill>
                <a:latin typeface="+mj-lt"/>
              </a:defRPr>
            </a:lvl1pPr>
          </a:lstStyle>
          <a:p>
            <a:pPr lvl="0"/>
            <a:r>
              <a:rPr lang="de-DE" dirty="0" smtClean="0"/>
              <a:t>HEADLINE DURCH KLICKEN </a:t>
            </a:r>
            <a:br>
              <a:rPr lang="de-DE" dirty="0" smtClean="0"/>
            </a:br>
            <a:r>
              <a:rPr lang="de-DE" dirty="0" smtClean="0"/>
              <a:t>BEARBEITEN</a:t>
            </a:r>
          </a:p>
        </p:txBody>
      </p:sp>
      <p:sp>
        <p:nvSpPr>
          <p:cNvPr id="6" name="Textplatzhalter 7"/>
          <p:cNvSpPr>
            <a:spLocks noGrp="1"/>
          </p:cNvSpPr>
          <p:nvPr>
            <p:ph type="body" sz="quarter" idx="14" hasCustomPrompt="1"/>
          </p:nvPr>
        </p:nvSpPr>
        <p:spPr>
          <a:xfrm>
            <a:off x="468313" y="1628679"/>
            <a:ext cx="8208962" cy="4861700"/>
          </a:xfrm>
          <a:prstGeom prst="rect">
            <a:avLst/>
          </a:prstGeom>
        </p:spPr>
        <p:txBody>
          <a:bodyPr lIns="0" tIns="0" rIns="0" bIns="0"/>
          <a:lstStyle>
            <a:lvl1pPr marL="0" indent="0">
              <a:lnSpc>
                <a:spcPct val="100000"/>
              </a:lnSpc>
              <a:spcBef>
                <a:spcPts val="0"/>
              </a:spcBef>
              <a:spcAft>
                <a:spcPts val="1200"/>
              </a:spcAft>
              <a:buFontTx/>
              <a:buNone/>
              <a:defRPr sz="2400">
                <a:latin typeface="+mn-lt"/>
                <a:ea typeface="BMW Type Global Pro Regular" pitchFamily="2" charset="0"/>
                <a:cs typeface="BMW Type Global Pro Regular" pitchFamily="2" charset="0"/>
              </a:defRPr>
            </a:lvl1pPr>
            <a:lvl2pPr marL="285750" indent="-285750">
              <a:lnSpc>
                <a:spcPct val="100000"/>
              </a:lnSpc>
              <a:spcBef>
                <a:spcPts val="0"/>
              </a:spcBef>
              <a:spcAft>
                <a:spcPts val="1200"/>
              </a:spcAft>
              <a:buFont typeface="Symbol" pitchFamily="18" charset="2"/>
              <a:buChar char="-"/>
              <a:defRPr sz="2400">
                <a:latin typeface="+mn-lt"/>
                <a:ea typeface="BMW Type Global Pro Regular" pitchFamily="2" charset="0"/>
                <a:cs typeface="BMW Type Global Pro Regular" pitchFamily="2" charset="0"/>
              </a:defRPr>
            </a:lvl2pPr>
            <a:lvl3pPr marL="633413" indent="-228600">
              <a:lnSpc>
                <a:spcPct val="100000"/>
              </a:lnSpc>
              <a:spcBef>
                <a:spcPts val="0"/>
              </a:spcBef>
              <a:spcAft>
                <a:spcPts val="1200"/>
              </a:spcAft>
              <a:buFont typeface="Symbol" pitchFamily="18" charset="2"/>
              <a:buChar char="-"/>
              <a:defRPr sz="2400">
                <a:latin typeface="+mn-lt"/>
                <a:ea typeface="BMW Type Global Pro Regular" pitchFamily="2" charset="0"/>
                <a:cs typeface="BMW Type Global Pro Regular" pitchFamily="2" charset="0"/>
              </a:defRPr>
            </a:lvl3pPr>
            <a:lvl4pPr marL="985838" indent="-228600">
              <a:lnSpc>
                <a:spcPct val="100000"/>
              </a:lnSpc>
              <a:spcBef>
                <a:spcPts val="0"/>
              </a:spcBef>
              <a:spcAft>
                <a:spcPts val="1200"/>
              </a:spcAft>
              <a:buFont typeface="Symbol" pitchFamily="18" charset="2"/>
              <a:buChar char="-"/>
              <a:defRPr sz="2400">
                <a:latin typeface="+mn-lt"/>
                <a:ea typeface="BMW Type Global Pro Regular" pitchFamily="2" charset="0"/>
                <a:cs typeface="BMW Type Global Pro Regular" pitchFamily="2" charset="0"/>
              </a:defRPr>
            </a:lvl4pPr>
            <a:lvl5pPr marL="1349375" indent="-228600">
              <a:lnSpc>
                <a:spcPct val="100000"/>
              </a:lnSpc>
              <a:spcBef>
                <a:spcPts val="0"/>
              </a:spcBef>
              <a:spcAft>
                <a:spcPts val="1200"/>
              </a:spcAft>
              <a:buFont typeface="Symbol" pitchFamily="18" charset="2"/>
              <a:buChar char="-"/>
              <a:defRPr sz="2400">
                <a:latin typeface="+mn-lt"/>
                <a:ea typeface="BMW Type Global Pro Regular" pitchFamily="2" charset="0"/>
                <a:cs typeface="BMW Type Global Pro Regular" pitchFamily="2" charset="0"/>
              </a:defRPr>
            </a:lvl5pPr>
          </a:lstStyle>
          <a:p>
            <a:pPr lvl="0"/>
            <a:r>
              <a:rPr lang="de-DE" dirty="0" smtClean="0"/>
              <a:t>Fließtext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 xmlns:p14="http://schemas.microsoft.com/office/powerpoint/2010/main" val="9033830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Fließtext klein">
    <p:spTree>
      <p:nvGrpSpPr>
        <p:cNvPr id="1" name=""/>
        <p:cNvGrpSpPr/>
        <p:nvPr/>
      </p:nvGrpSpPr>
      <p:grpSpPr>
        <a:xfrm>
          <a:off x="0" y="0"/>
          <a:ext cx="0" cy="0"/>
          <a:chOff x="0" y="0"/>
          <a:chExt cx="0" cy="0"/>
        </a:xfrm>
      </p:grpSpPr>
      <p:sp>
        <p:nvSpPr>
          <p:cNvPr id="6" name="Textplatzhalter 8"/>
          <p:cNvSpPr>
            <a:spLocks noGrp="1"/>
          </p:cNvSpPr>
          <p:nvPr>
            <p:ph type="body" sz="quarter" idx="13" hasCustomPrompt="1"/>
          </p:nvPr>
        </p:nvSpPr>
        <p:spPr>
          <a:xfrm>
            <a:off x="459687" y="403227"/>
            <a:ext cx="8217588" cy="960437"/>
          </a:xfrm>
          <a:prstGeom prst="rect">
            <a:avLst/>
          </a:prstGeom>
        </p:spPr>
        <p:txBody>
          <a:bodyPr lIns="0" tIns="0" rIns="0" bIns="0">
            <a:noAutofit/>
          </a:bodyPr>
          <a:lstStyle>
            <a:lvl1pPr marL="0" indent="0">
              <a:lnSpc>
                <a:spcPts val="2800"/>
              </a:lnSpc>
              <a:spcBef>
                <a:spcPts val="0"/>
              </a:spcBef>
              <a:buNone/>
              <a:defRPr sz="2800" b="1" cap="all" baseline="0">
                <a:solidFill>
                  <a:schemeClr val="bg2"/>
                </a:solidFill>
                <a:latin typeface="+mj-lt"/>
              </a:defRPr>
            </a:lvl1pPr>
          </a:lstStyle>
          <a:p>
            <a:pPr lvl="0"/>
            <a:r>
              <a:rPr lang="de-DE" dirty="0" smtClean="0"/>
              <a:t>HEADLINE DURCH KLICKEN </a:t>
            </a:r>
            <a:br>
              <a:rPr lang="de-DE" dirty="0" smtClean="0"/>
            </a:br>
            <a:r>
              <a:rPr lang="de-DE" dirty="0" smtClean="0"/>
              <a:t>BEARBEITEN</a:t>
            </a:r>
          </a:p>
        </p:txBody>
      </p:sp>
      <p:sp>
        <p:nvSpPr>
          <p:cNvPr id="8" name="Fußzeilenplatzhalter 3"/>
          <p:cNvSpPr>
            <a:spLocks noGrp="1"/>
          </p:cNvSpPr>
          <p:nvPr>
            <p:ph type="ftr" sz="quarter" idx="3"/>
          </p:nvPr>
        </p:nvSpPr>
        <p:spPr>
          <a:xfrm>
            <a:off x="468313" y="6526233"/>
            <a:ext cx="2895600" cy="331787"/>
          </a:xfrm>
          <a:prstGeom prst="rect">
            <a:avLst/>
          </a:prstGeom>
        </p:spPr>
        <p:txBody>
          <a:bodyPr vert="horz" lIns="0" tIns="0" rIns="0" bIns="0" rtlCol="0" anchor="ctr"/>
          <a:lstStyle>
            <a:lvl1pPr algn="ctr">
              <a:defRPr sz="900">
                <a:solidFill>
                  <a:schemeClr val="tx1"/>
                </a:solidFill>
              </a:defRPr>
            </a:lvl1pPr>
          </a:lstStyle>
          <a:p>
            <a:pPr algn="l"/>
            <a:r>
              <a:rPr lang="de-DE" smtClean="0"/>
              <a:t>Maturity Level Management Total Vehicle, Communication, Version 4.2</a:t>
            </a:r>
            <a:endParaRPr lang="de-DE" dirty="0"/>
          </a:p>
        </p:txBody>
      </p:sp>
      <p:sp>
        <p:nvSpPr>
          <p:cNvPr id="9" name="Foliennummernplatzhalter 4"/>
          <p:cNvSpPr>
            <a:spLocks noGrp="1"/>
          </p:cNvSpPr>
          <p:nvPr>
            <p:ph type="sldNum" sz="quarter" idx="4"/>
          </p:nvPr>
        </p:nvSpPr>
        <p:spPr>
          <a:xfrm>
            <a:off x="6553210" y="6528871"/>
            <a:ext cx="2124075" cy="329130"/>
          </a:xfrm>
          <a:prstGeom prst="rect">
            <a:avLst/>
          </a:prstGeom>
        </p:spPr>
        <p:txBody>
          <a:bodyPr vert="horz" lIns="0" tIns="0" rIns="0" bIns="0" rtlCol="0" anchor="ctr"/>
          <a:lstStyle>
            <a:lvl1pPr algn="r">
              <a:defRPr sz="900">
                <a:solidFill>
                  <a:schemeClr val="tx1"/>
                </a:solidFill>
              </a:defRPr>
            </a:lvl1pPr>
          </a:lstStyle>
          <a:p>
            <a:r>
              <a:rPr lang="de-DE" dirty="0" smtClean="0">
                <a:solidFill>
                  <a:prstClr val="black"/>
                </a:solidFill>
              </a:rPr>
              <a:t>Seite </a:t>
            </a:r>
            <a:fld id="{AA807A42-CF27-4B84-8583-18EBE418342E}" type="slidenum">
              <a:rPr lang="de-DE" smtClean="0">
                <a:solidFill>
                  <a:prstClr val="black"/>
                </a:solidFill>
              </a:rPr>
              <a:pPr/>
              <a:t>‹Nr.›</a:t>
            </a:fld>
            <a:endParaRPr lang="de-DE" dirty="0">
              <a:solidFill>
                <a:prstClr val="black"/>
              </a:solidFill>
            </a:endParaRPr>
          </a:p>
        </p:txBody>
      </p:sp>
    </p:spTree>
    <p:extLst>
      <p:ext uri="{BB962C8B-B14F-4D97-AF65-F5344CB8AC3E}">
        <p14:creationId xmlns:p14="http://schemas.microsoft.com/office/powerpoint/2010/main" xmlns="" val="16005838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Fließtex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pPr algn="l"/>
            <a:r>
              <a:rPr lang="de-DE" smtClean="0"/>
              <a:t>Maturity Level Management Total Vehicle, Communication, Version 4.2</a:t>
            </a:r>
            <a:endParaRPr lang="de-DE" dirty="0"/>
          </a:p>
        </p:txBody>
      </p:sp>
      <p:sp>
        <p:nvSpPr>
          <p:cNvPr id="4" name="Foliennummernplatzhalter 3"/>
          <p:cNvSpPr>
            <a:spLocks noGrp="1"/>
          </p:cNvSpPr>
          <p:nvPr>
            <p:ph type="sldNum" sz="quarter" idx="11"/>
          </p:nvPr>
        </p:nvSpPr>
        <p:spPr/>
        <p:txBody>
          <a:bodyPr/>
          <a:lstStyle/>
          <a:p>
            <a:r>
              <a:rPr lang="de-DE" dirty="0" smtClean="0"/>
              <a:t>Seite </a:t>
            </a:r>
            <a:fld id="{AA807A42-CF27-4B84-8583-18EBE418342E}" type="slidenum">
              <a:rPr lang="de-DE" smtClean="0"/>
              <a:pPr/>
              <a:t>‹Nr.›</a:t>
            </a:fld>
            <a:endParaRPr lang="de-DE" dirty="0"/>
          </a:p>
        </p:txBody>
      </p:sp>
      <p:sp>
        <p:nvSpPr>
          <p:cNvPr id="5" name="Textplatzhalter 8"/>
          <p:cNvSpPr>
            <a:spLocks noGrp="1"/>
          </p:cNvSpPr>
          <p:nvPr>
            <p:ph type="body" sz="quarter" idx="13" hasCustomPrompt="1"/>
          </p:nvPr>
        </p:nvSpPr>
        <p:spPr>
          <a:xfrm>
            <a:off x="459687" y="403225"/>
            <a:ext cx="8217588" cy="960437"/>
          </a:xfrm>
          <a:prstGeom prst="rect">
            <a:avLst/>
          </a:prstGeom>
        </p:spPr>
        <p:txBody>
          <a:bodyPr lIns="0" tIns="0" rIns="0" bIns="0">
            <a:noAutofit/>
          </a:bodyPr>
          <a:lstStyle>
            <a:lvl1pPr marL="0" indent="0">
              <a:lnSpc>
                <a:spcPts val="2800"/>
              </a:lnSpc>
              <a:spcBef>
                <a:spcPts val="0"/>
              </a:spcBef>
              <a:buNone/>
              <a:defRPr sz="2800" b="1" cap="all" baseline="0">
                <a:solidFill>
                  <a:schemeClr val="bg2"/>
                </a:solidFill>
                <a:latin typeface="+mj-lt"/>
              </a:defRPr>
            </a:lvl1pPr>
          </a:lstStyle>
          <a:p>
            <a:pPr lvl="0"/>
            <a:r>
              <a:rPr lang="de-DE" dirty="0" smtClean="0"/>
              <a:t>HEADLINE DURCH KLICKEN </a:t>
            </a:r>
            <a:br>
              <a:rPr lang="de-DE" dirty="0" smtClean="0"/>
            </a:br>
            <a:r>
              <a:rPr lang="de-DE" dirty="0" smtClean="0"/>
              <a:t>BEARBEITEN</a:t>
            </a:r>
          </a:p>
        </p:txBody>
      </p:sp>
      <p:pic>
        <p:nvPicPr>
          <p:cNvPr id="7" name="Picture 2" descr="https://wcm2.bmwgroup.net/rc_edit/rc/Entwicklung/imagepool/000_E-Themen/EMT_for_ONE/EMTforONE.gif"/>
          <p:cNvPicPr>
            <a:picLocks noChangeAspect="1" noChangeArrowheads="1"/>
          </p:cNvPicPr>
          <p:nvPr userDrawn="1">
            <p:custDataLst>
              <p:tags r:id="rId1"/>
            </p:custDataLst>
          </p:nvPr>
        </p:nvPicPr>
        <p:blipFill>
          <a:blip r:embed="rId3" cstate="print"/>
          <a:srcRect/>
          <a:stretch>
            <a:fillRect/>
          </a:stretch>
        </p:blipFill>
        <p:spPr bwMode="auto">
          <a:xfrm>
            <a:off x="8097384" y="403225"/>
            <a:ext cx="579891" cy="579891"/>
          </a:xfrm>
          <a:prstGeom prst="rect">
            <a:avLst/>
          </a:prstGeom>
          <a:noFill/>
        </p:spPr>
      </p:pic>
    </p:spTree>
    <p:extLst>
      <p:ext uri="{BB962C8B-B14F-4D97-AF65-F5344CB8AC3E}">
        <p14:creationId xmlns:p14="http://schemas.microsoft.com/office/powerpoint/2010/main" xmlns="" val="9033830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4_Fließtex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pPr algn="l"/>
            <a:r>
              <a:rPr lang="de-DE" smtClean="0"/>
              <a:t>Maturity Level Management Total Vehicle, Communication, Version 4.2</a:t>
            </a:r>
            <a:endParaRPr lang="de-DE" dirty="0"/>
          </a:p>
        </p:txBody>
      </p:sp>
      <p:sp>
        <p:nvSpPr>
          <p:cNvPr id="4" name="Foliennummernplatzhalter 3"/>
          <p:cNvSpPr>
            <a:spLocks noGrp="1"/>
          </p:cNvSpPr>
          <p:nvPr>
            <p:ph type="sldNum" sz="quarter" idx="11"/>
          </p:nvPr>
        </p:nvSpPr>
        <p:spPr/>
        <p:txBody>
          <a:bodyPr/>
          <a:lstStyle/>
          <a:p>
            <a:r>
              <a:rPr lang="de-DE" dirty="0" smtClean="0"/>
              <a:t>Seite </a:t>
            </a:r>
            <a:fld id="{AA807A42-CF27-4B84-8583-18EBE418342E}" type="slidenum">
              <a:rPr lang="de-DE" smtClean="0"/>
              <a:pPr/>
              <a:t>‹Nr.›</a:t>
            </a:fld>
            <a:endParaRPr lang="de-DE" dirty="0"/>
          </a:p>
        </p:txBody>
      </p:sp>
      <p:sp>
        <p:nvSpPr>
          <p:cNvPr id="5" name="Textplatzhalter 8"/>
          <p:cNvSpPr>
            <a:spLocks noGrp="1"/>
          </p:cNvSpPr>
          <p:nvPr>
            <p:ph type="body" sz="quarter" idx="13" hasCustomPrompt="1"/>
          </p:nvPr>
        </p:nvSpPr>
        <p:spPr>
          <a:xfrm>
            <a:off x="459687" y="403225"/>
            <a:ext cx="8217588" cy="960437"/>
          </a:xfrm>
          <a:prstGeom prst="rect">
            <a:avLst/>
          </a:prstGeom>
        </p:spPr>
        <p:txBody>
          <a:bodyPr lIns="0" tIns="0" rIns="0" bIns="0">
            <a:noAutofit/>
          </a:bodyPr>
          <a:lstStyle>
            <a:lvl1pPr marL="0" indent="0">
              <a:lnSpc>
                <a:spcPts val="2800"/>
              </a:lnSpc>
              <a:spcBef>
                <a:spcPts val="0"/>
              </a:spcBef>
              <a:buNone/>
              <a:defRPr sz="2800" b="1" cap="all" baseline="0">
                <a:solidFill>
                  <a:schemeClr val="bg2"/>
                </a:solidFill>
                <a:latin typeface="+mj-lt"/>
              </a:defRPr>
            </a:lvl1pPr>
          </a:lstStyle>
          <a:p>
            <a:pPr lvl="0"/>
            <a:r>
              <a:rPr lang="de-DE" dirty="0" smtClean="0"/>
              <a:t>HEADLINE DURCH KLICKEN </a:t>
            </a:r>
            <a:br>
              <a:rPr lang="de-DE" dirty="0" smtClean="0"/>
            </a:br>
            <a:r>
              <a:rPr lang="de-DE" dirty="0" smtClean="0"/>
              <a:t>BEARBEITEN</a:t>
            </a:r>
          </a:p>
        </p:txBody>
      </p:sp>
      <p:pic>
        <p:nvPicPr>
          <p:cNvPr id="7" name="Picture 2" descr="https://wcm2.bmwgroup.net/rc_edit/rc/Entwicklung/imagepool/000_E-Themen/EMT_for_ONE/EMTforONE.gif"/>
          <p:cNvPicPr>
            <a:picLocks noChangeAspect="1" noChangeArrowheads="1"/>
          </p:cNvPicPr>
          <p:nvPr userDrawn="1">
            <p:custDataLst>
              <p:tags r:id="rId1"/>
            </p:custDataLst>
          </p:nvPr>
        </p:nvPicPr>
        <p:blipFill>
          <a:blip r:embed="rId3" cstate="print"/>
          <a:srcRect/>
          <a:stretch>
            <a:fillRect/>
          </a:stretch>
        </p:blipFill>
        <p:spPr bwMode="auto">
          <a:xfrm>
            <a:off x="8097384" y="403225"/>
            <a:ext cx="579891" cy="579891"/>
          </a:xfrm>
          <a:prstGeom prst="rect">
            <a:avLst/>
          </a:prstGeom>
          <a:noFill/>
        </p:spPr>
      </p:pic>
    </p:spTree>
    <p:extLst>
      <p:ext uri="{BB962C8B-B14F-4D97-AF65-F5344CB8AC3E}">
        <p14:creationId xmlns:p14="http://schemas.microsoft.com/office/powerpoint/2010/main" xmlns="" val="9033830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Fließtext">
    <p:spTree>
      <p:nvGrpSpPr>
        <p:cNvPr id="1" name=""/>
        <p:cNvGrpSpPr/>
        <p:nvPr/>
      </p:nvGrpSpPr>
      <p:grpSpPr>
        <a:xfrm>
          <a:off x="0" y="0"/>
          <a:ext cx="0" cy="0"/>
          <a:chOff x="0" y="0"/>
          <a:chExt cx="0" cy="0"/>
        </a:xfrm>
      </p:grpSpPr>
      <p:sp>
        <p:nvSpPr>
          <p:cNvPr id="4" name="Foliennummernplatzhalter 3"/>
          <p:cNvSpPr>
            <a:spLocks noGrp="1"/>
          </p:cNvSpPr>
          <p:nvPr>
            <p:ph type="sldNum" sz="quarter" idx="11"/>
          </p:nvPr>
        </p:nvSpPr>
        <p:spPr/>
        <p:txBody>
          <a:bodyPr/>
          <a:lstStyle/>
          <a:p>
            <a:r>
              <a:rPr lang="de-DE" dirty="0" smtClean="0">
                <a:solidFill>
                  <a:prstClr val="black"/>
                </a:solidFill>
              </a:rPr>
              <a:t>Seite </a:t>
            </a:r>
            <a:fld id="{AA807A42-CF27-4B84-8583-18EBE418342E}" type="slidenum">
              <a:rPr lang="de-DE" smtClean="0">
                <a:solidFill>
                  <a:prstClr val="black"/>
                </a:solidFill>
              </a:rPr>
              <a:pPr/>
              <a:t>‹Nr.›</a:t>
            </a:fld>
            <a:endParaRPr lang="de-DE" dirty="0">
              <a:solidFill>
                <a:prstClr val="black"/>
              </a:solidFill>
            </a:endParaRPr>
          </a:p>
        </p:txBody>
      </p:sp>
      <p:sp>
        <p:nvSpPr>
          <p:cNvPr id="5" name="Textplatzhalter 8"/>
          <p:cNvSpPr>
            <a:spLocks noGrp="1"/>
          </p:cNvSpPr>
          <p:nvPr>
            <p:ph type="body" sz="quarter" idx="13" hasCustomPrompt="1"/>
          </p:nvPr>
        </p:nvSpPr>
        <p:spPr>
          <a:xfrm>
            <a:off x="459687" y="403225"/>
            <a:ext cx="8217588" cy="960437"/>
          </a:xfrm>
          <a:prstGeom prst="rect">
            <a:avLst/>
          </a:prstGeom>
        </p:spPr>
        <p:txBody>
          <a:bodyPr lIns="0" tIns="0" rIns="0" bIns="0">
            <a:noAutofit/>
          </a:bodyPr>
          <a:lstStyle>
            <a:lvl1pPr marL="0" indent="0">
              <a:lnSpc>
                <a:spcPts val="2800"/>
              </a:lnSpc>
              <a:spcBef>
                <a:spcPts val="0"/>
              </a:spcBef>
              <a:buNone/>
              <a:defRPr sz="2800" b="1" cap="all" baseline="0">
                <a:solidFill>
                  <a:schemeClr val="bg2"/>
                </a:solidFill>
                <a:latin typeface="+mj-lt"/>
              </a:defRPr>
            </a:lvl1pPr>
          </a:lstStyle>
          <a:p>
            <a:pPr lvl="0"/>
            <a:r>
              <a:rPr lang="de-DE" dirty="0" smtClean="0"/>
              <a:t>HEADLINE DURCH KLICKEN </a:t>
            </a:r>
            <a:br>
              <a:rPr lang="de-DE" dirty="0" smtClean="0"/>
            </a:br>
            <a:r>
              <a:rPr lang="de-DE" dirty="0" smtClean="0"/>
              <a:t>BEARBEITEN</a:t>
            </a:r>
          </a:p>
        </p:txBody>
      </p:sp>
      <p:sp>
        <p:nvSpPr>
          <p:cNvPr id="6" name="Textplatzhalter 7"/>
          <p:cNvSpPr>
            <a:spLocks noGrp="1"/>
          </p:cNvSpPr>
          <p:nvPr>
            <p:ph type="body" sz="quarter" idx="14" hasCustomPrompt="1"/>
          </p:nvPr>
        </p:nvSpPr>
        <p:spPr>
          <a:xfrm>
            <a:off x="468313" y="1628679"/>
            <a:ext cx="8208962" cy="4861700"/>
          </a:xfrm>
          <a:prstGeom prst="rect">
            <a:avLst/>
          </a:prstGeom>
        </p:spPr>
        <p:txBody>
          <a:bodyPr lIns="0" tIns="0" rIns="0" bIns="0"/>
          <a:lstStyle>
            <a:lvl1pPr marL="0" indent="0">
              <a:lnSpc>
                <a:spcPct val="100000"/>
              </a:lnSpc>
              <a:spcBef>
                <a:spcPts val="0"/>
              </a:spcBef>
              <a:spcAft>
                <a:spcPts val="1200"/>
              </a:spcAft>
              <a:buFontTx/>
              <a:buNone/>
              <a:defRPr sz="2400">
                <a:latin typeface="+mn-lt"/>
                <a:ea typeface="BMW Type Global Pro Regular" pitchFamily="2" charset="0"/>
                <a:cs typeface="BMW Type Global Pro Regular" pitchFamily="2" charset="0"/>
              </a:defRPr>
            </a:lvl1pPr>
            <a:lvl2pPr marL="285750" indent="-285750">
              <a:lnSpc>
                <a:spcPct val="100000"/>
              </a:lnSpc>
              <a:spcBef>
                <a:spcPts val="0"/>
              </a:spcBef>
              <a:spcAft>
                <a:spcPts val="1200"/>
              </a:spcAft>
              <a:buFont typeface="Symbol" pitchFamily="18" charset="2"/>
              <a:buChar char="-"/>
              <a:defRPr sz="2400">
                <a:latin typeface="+mn-lt"/>
                <a:ea typeface="BMW Type Global Pro Regular" pitchFamily="2" charset="0"/>
                <a:cs typeface="BMW Type Global Pro Regular" pitchFamily="2" charset="0"/>
              </a:defRPr>
            </a:lvl2pPr>
            <a:lvl3pPr marL="633413" indent="-228600">
              <a:lnSpc>
                <a:spcPct val="100000"/>
              </a:lnSpc>
              <a:spcBef>
                <a:spcPts val="0"/>
              </a:spcBef>
              <a:spcAft>
                <a:spcPts val="1200"/>
              </a:spcAft>
              <a:buFont typeface="Symbol" pitchFamily="18" charset="2"/>
              <a:buChar char="-"/>
              <a:defRPr sz="2400">
                <a:latin typeface="+mn-lt"/>
                <a:ea typeface="BMW Type Global Pro Regular" pitchFamily="2" charset="0"/>
                <a:cs typeface="BMW Type Global Pro Regular" pitchFamily="2" charset="0"/>
              </a:defRPr>
            </a:lvl3pPr>
            <a:lvl4pPr marL="985838" indent="-228600">
              <a:lnSpc>
                <a:spcPct val="100000"/>
              </a:lnSpc>
              <a:spcBef>
                <a:spcPts val="0"/>
              </a:spcBef>
              <a:spcAft>
                <a:spcPts val="1200"/>
              </a:spcAft>
              <a:buFont typeface="Symbol" pitchFamily="18" charset="2"/>
              <a:buChar char="-"/>
              <a:defRPr sz="2400">
                <a:latin typeface="+mn-lt"/>
                <a:ea typeface="BMW Type Global Pro Regular" pitchFamily="2" charset="0"/>
                <a:cs typeface="BMW Type Global Pro Regular" pitchFamily="2" charset="0"/>
              </a:defRPr>
            </a:lvl4pPr>
            <a:lvl5pPr marL="1349375" indent="-228600">
              <a:lnSpc>
                <a:spcPct val="100000"/>
              </a:lnSpc>
              <a:spcBef>
                <a:spcPts val="0"/>
              </a:spcBef>
              <a:spcAft>
                <a:spcPts val="1200"/>
              </a:spcAft>
              <a:buFont typeface="Symbol" pitchFamily="18" charset="2"/>
              <a:buChar char="-"/>
              <a:defRPr sz="2400">
                <a:latin typeface="+mn-lt"/>
                <a:ea typeface="BMW Type Global Pro Regular" pitchFamily="2" charset="0"/>
                <a:cs typeface="BMW Type Global Pro Regular" pitchFamily="2" charset="0"/>
              </a:defRPr>
            </a:lvl5pPr>
          </a:lstStyle>
          <a:p>
            <a:pPr lvl="0"/>
            <a:r>
              <a:rPr lang="de-DE" dirty="0" smtClean="0"/>
              <a:t>Fließtext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8" name="Fußzeilenplatzhalter 3"/>
          <p:cNvSpPr>
            <a:spLocks noGrp="1"/>
          </p:cNvSpPr>
          <p:nvPr>
            <p:ph type="ftr" sz="quarter" idx="3"/>
          </p:nvPr>
        </p:nvSpPr>
        <p:spPr>
          <a:xfrm>
            <a:off x="468313" y="6526213"/>
            <a:ext cx="2895600" cy="331787"/>
          </a:xfrm>
          <a:prstGeom prst="rect">
            <a:avLst/>
          </a:prstGeom>
        </p:spPr>
        <p:txBody>
          <a:bodyPr vert="horz" lIns="0" tIns="0" rIns="0" bIns="0" rtlCol="0" anchor="ctr"/>
          <a:lstStyle>
            <a:lvl1pPr algn="ctr">
              <a:defRPr sz="900">
                <a:solidFill>
                  <a:schemeClr val="tx1"/>
                </a:solidFill>
              </a:defRPr>
            </a:lvl1pPr>
          </a:lstStyle>
          <a:p>
            <a:pPr algn="l"/>
            <a:r>
              <a:rPr lang="de-DE" smtClean="0"/>
              <a:t>Maturity Level Management Total Vehicle, Communication, Version 4.2</a:t>
            </a:r>
            <a:endParaRPr lang="de-DE" dirty="0"/>
          </a:p>
        </p:txBody>
      </p:sp>
    </p:spTree>
    <p:extLst>
      <p:ext uri="{BB962C8B-B14F-4D97-AF65-F5344CB8AC3E}">
        <p14:creationId xmlns="" xmlns:p14="http://schemas.microsoft.com/office/powerpoint/2010/main" val="9033830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ohne Bild, Headline 1-zeilig">
    <p:spTree>
      <p:nvGrpSpPr>
        <p:cNvPr id="1" name=""/>
        <p:cNvGrpSpPr/>
        <p:nvPr/>
      </p:nvGrpSpPr>
      <p:grpSpPr>
        <a:xfrm>
          <a:off x="0" y="0"/>
          <a:ext cx="0" cy="0"/>
          <a:chOff x="0" y="0"/>
          <a:chExt cx="0" cy="0"/>
        </a:xfrm>
      </p:grpSpPr>
      <p:sp>
        <p:nvSpPr>
          <p:cNvPr id="10" name="Textplatzhalter 24"/>
          <p:cNvSpPr>
            <a:spLocks noGrp="1"/>
          </p:cNvSpPr>
          <p:nvPr>
            <p:ph type="body" sz="quarter" idx="18" hasCustomPrompt="1"/>
          </p:nvPr>
        </p:nvSpPr>
        <p:spPr>
          <a:xfrm>
            <a:off x="469617" y="1720052"/>
            <a:ext cx="3573201" cy="379087"/>
          </a:xfrm>
          <a:prstGeom prst="rect">
            <a:avLst/>
          </a:prstGeom>
        </p:spPr>
        <p:txBody>
          <a:bodyPr lIns="0" tIns="0" rIns="0" bIns="0"/>
          <a:lstStyle>
            <a:lvl1pPr marL="0" indent="0">
              <a:buNone/>
              <a:defRPr sz="1100">
                <a:latin typeface="+mn-lt"/>
                <a:ea typeface="BMW Type Global Pro Regular" pitchFamily="2" charset="0"/>
                <a:cs typeface="BMW Type Global Pro Regular" pitchFamily="2" charset="0"/>
              </a:defRPr>
            </a:lvl1pPr>
            <a:lvl2pPr>
              <a:defRPr sz="1700"/>
            </a:lvl2pPr>
            <a:lvl3pPr>
              <a:defRPr sz="1700"/>
            </a:lvl3pPr>
            <a:lvl4pPr>
              <a:defRPr sz="1700"/>
            </a:lvl4pPr>
            <a:lvl5pPr>
              <a:defRPr sz="1700"/>
            </a:lvl5pPr>
          </a:lstStyle>
          <a:p>
            <a:pPr lvl="0"/>
            <a:r>
              <a:rPr lang="de-DE" dirty="0" smtClean="0"/>
              <a:t>Abteilung und Datum eingeben</a:t>
            </a:r>
          </a:p>
        </p:txBody>
      </p:sp>
      <p:sp>
        <p:nvSpPr>
          <p:cNvPr id="13" name="Textplatzhalter 8"/>
          <p:cNvSpPr>
            <a:spLocks noGrp="1"/>
          </p:cNvSpPr>
          <p:nvPr>
            <p:ph type="body" sz="quarter" idx="13" hasCustomPrompt="1"/>
          </p:nvPr>
        </p:nvSpPr>
        <p:spPr>
          <a:xfrm>
            <a:off x="456586" y="341559"/>
            <a:ext cx="8218362" cy="581467"/>
          </a:xfrm>
          <a:prstGeom prst="rect">
            <a:avLst/>
          </a:prstGeom>
        </p:spPr>
        <p:txBody>
          <a:bodyPr lIns="0" tIns="0" rIns="0" bIns="0">
            <a:noAutofit/>
          </a:bodyPr>
          <a:lstStyle>
            <a:lvl1pPr marL="0" indent="0">
              <a:lnSpc>
                <a:spcPts val="4000"/>
              </a:lnSpc>
              <a:spcBef>
                <a:spcPts val="0"/>
              </a:spcBef>
              <a:buNone/>
              <a:defRPr sz="3600" b="1" cap="all" baseline="0">
                <a:solidFill>
                  <a:schemeClr val="bg2"/>
                </a:solidFill>
                <a:latin typeface="+mj-lt"/>
              </a:defRPr>
            </a:lvl1pPr>
          </a:lstStyle>
          <a:p>
            <a:pPr lvl="0"/>
            <a:r>
              <a:rPr lang="de-DE" dirty="0" err="1" smtClean="0"/>
              <a:t>titel</a:t>
            </a:r>
            <a:r>
              <a:rPr lang="de-DE" dirty="0" smtClean="0"/>
              <a:t> DURCH KLICKEN BEARBEITEN</a:t>
            </a:r>
          </a:p>
        </p:txBody>
      </p:sp>
      <p:sp>
        <p:nvSpPr>
          <p:cNvPr id="14" name="Textplatzhalter 8"/>
          <p:cNvSpPr>
            <a:spLocks noGrp="1"/>
          </p:cNvSpPr>
          <p:nvPr>
            <p:ph type="body" sz="quarter" idx="14" hasCustomPrompt="1"/>
          </p:nvPr>
        </p:nvSpPr>
        <p:spPr>
          <a:xfrm>
            <a:off x="468313" y="965584"/>
            <a:ext cx="8206635" cy="534059"/>
          </a:xfrm>
          <a:prstGeom prst="rect">
            <a:avLst/>
          </a:prstGeom>
        </p:spPr>
        <p:txBody>
          <a:bodyPr lIns="0" tIns="0" rIns="0" bIns="0"/>
          <a:lstStyle>
            <a:lvl1pPr marL="0" indent="0">
              <a:lnSpc>
                <a:spcPts val="2100"/>
              </a:lnSpc>
              <a:spcBef>
                <a:spcPts val="0"/>
              </a:spcBef>
              <a:buNone/>
              <a:defRPr sz="2000" b="1" cap="all" baseline="0">
                <a:latin typeface="+mj-lt"/>
              </a:defRPr>
            </a:lvl1pPr>
          </a:lstStyle>
          <a:p>
            <a:pPr lvl="0"/>
            <a:r>
              <a:rPr lang="de-DE" dirty="0" smtClean="0"/>
              <a:t>Subheadline durch klicken bearbeiten</a:t>
            </a:r>
          </a:p>
        </p:txBody>
      </p:sp>
      <p:pic>
        <p:nvPicPr>
          <p:cNvPr id="9" name="Bild 8" descr="BMWMINIRR_5fbg Kopie.jpg"/>
          <p:cNvPicPr>
            <a:picLocks noChangeAspect="1"/>
          </p:cNvPicPr>
          <p:nvPr userDrawn="1"/>
        </p:nvPicPr>
        <p:blipFill>
          <a:blip r:embed="rId2" cstate="print">
            <a:extLst>
              <a:ext uri="{28A0092B-C50C-407E-A947-70E740481C1C}">
                <a14:useLocalDpi xmlns="" xmlns:a14="http://schemas.microsoft.com/office/drawing/2010/main" val="0"/>
              </a:ext>
            </a:extLst>
          </a:blip>
          <a:srcRect/>
          <a:stretch>
            <a:fillRect/>
          </a:stretch>
        </p:blipFill>
        <p:spPr bwMode="auto">
          <a:xfrm>
            <a:off x="6569927" y="6021288"/>
            <a:ext cx="2105021" cy="44160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1" name="Bild 7" descr="WortmarkeBMWGROUP Kopie.jpg"/>
          <p:cNvPicPr>
            <a:picLocks noChangeAspect="1"/>
          </p:cNvPicPr>
          <p:nvPr userDrawn="1"/>
        </p:nvPicPr>
        <p:blipFill>
          <a:blip r:embed="rId3" cstate="print">
            <a:extLst>
              <a:ext uri="{28A0092B-C50C-407E-A947-70E740481C1C}">
                <a14:useLocalDpi xmlns="" xmlns:a14="http://schemas.microsoft.com/office/drawing/2010/main" val="0"/>
              </a:ext>
            </a:extLst>
          </a:blip>
          <a:srcRect/>
          <a:stretch>
            <a:fillRect/>
          </a:stretch>
        </p:blipFill>
        <p:spPr bwMode="auto">
          <a:xfrm>
            <a:off x="461064" y="6031922"/>
            <a:ext cx="909281" cy="4320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 xmlns:p14="http://schemas.microsoft.com/office/powerpoint/2010/main" val="33693144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Fließtex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pPr algn="l"/>
            <a:r>
              <a:rPr lang="de-DE" smtClean="0"/>
              <a:t>Maturity Level Management Total Vehicle, Communication, Version 4.2</a:t>
            </a:r>
            <a:endParaRPr lang="de-DE" dirty="0"/>
          </a:p>
        </p:txBody>
      </p:sp>
      <p:sp>
        <p:nvSpPr>
          <p:cNvPr id="4" name="Foliennummernplatzhalter 3"/>
          <p:cNvSpPr>
            <a:spLocks noGrp="1"/>
          </p:cNvSpPr>
          <p:nvPr>
            <p:ph type="sldNum" sz="quarter" idx="11"/>
          </p:nvPr>
        </p:nvSpPr>
        <p:spPr/>
        <p:txBody>
          <a:bodyPr/>
          <a:lstStyle/>
          <a:p>
            <a:r>
              <a:rPr lang="de-DE" dirty="0" smtClean="0">
                <a:solidFill>
                  <a:prstClr val="black"/>
                </a:solidFill>
              </a:rPr>
              <a:t>Page </a:t>
            </a:r>
            <a:fld id="{AA807A42-CF27-4B84-8583-18EBE418342E}" type="slidenum">
              <a:rPr lang="de-DE" smtClean="0">
                <a:solidFill>
                  <a:prstClr val="black"/>
                </a:solidFill>
              </a:rPr>
              <a:pPr/>
              <a:t>‹Nr.›</a:t>
            </a:fld>
            <a:endParaRPr lang="de-DE" dirty="0">
              <a:solidFill>
                <a:prstClr val="black"/>
              </a:solidFill>
            </a:endParaRPr>
          </a:p>
        </p:txBody>
      </p:sp>
      <p:sp>
        <p:nvSpPr>
          <p:cNvPr id="5" name="Textplatzhalter 8"/>
          <p:cNvSpPr>
            <a:spLocks noGrp="1"/>
          </p:cNvSpPr>
          <p:nvPr>
            <p:ph type="body" sz="quarter" idx="13" hasCustomPrompt="1"/>
          </p:nvPr>
        </p:nvSpPr>
        <p:spPr>
          <a:xfrm>
            <a:off x="459687" y="403227"/>
            <a:ext cx="8217588" cy="960437"/>
          </a:xfrm>
          <a:prstGeom prst="rect">
            <a:avLst/>
          </a:prstGeom>
        </p:spPr>
        <p:txBody>
          <a:bodyPr lIns="0" tIns="0" rIns="0" bIns="0">
            <a:noAutofit/>
          </a:bodyPr>
          <a:lstStyle>
            <a:lvl1pPr marL="0" indent="0">
              <a:lnSpc>
                <a:spcPts val="2800"/>
              </a:lnSpc>
              <a:spcBef>
                <a:spcPts val="0"/>
              </a:spcBef>
              <a:buNone/>
              <a:defRPr sz="2800" b="1" cap="all" baseline="0">
                <a:solidFill>
                  <a:schemeClr val="bg2"/>
                </a:solidFill>
                <a:latin typeface="+mj-lt"/>
              </a:defRPr>
            </a:lvl1pPr>
          </a:lstStyle>
          <a:p>
            <a:pPr lvl="0"/>
            <a:r>
              <a:rPr lang="de-DE" dirty="0" smtClean="0"/>
              <a:t>HEADLINE DURCH KLICKEN </a:t>
            </a:r>
            <a:br>
              <a:rPr lang="de-DE" dirty="0" smtClean="0"/>
            </a:br>
            <a:r>
              <a:rPr lang="de-DE" dirty="0" smtClean="0"/>
              <a:t>BEARBEITEN</a:t>
            </a:r>
          </a:p>
        </p:txBody>
      </p:sp>
      <p:sp>
        <p:nvSpPr>
          <p:cNvPr id="6" name="Textplatzhalter 7"/>
          <p:cNvSpPr>
            <a:spLocks noGrp="1"/>
          </p:cNvSpPr>
          <p:nvPr>
            <p:ph type="body" sz="quarter" idx="14" hasCustomPrompt="1"/>
          </p:nvPr>
        </p:nvSpPr>
        <p:spPr>
          <a:xfrm>
            <a:off x="468313" y="1628679"/>
            <a:ext cx="8208962" cy="4861700"/>
          </a:xfrm>
          <a:prstGeom prst="rect">
            <a:avLst/>
          </a:prstGeom>
        </p:spPr>
        <p:txBody>
          <a:bodyPr lIns="0" tIns="0" rIns="0" bIns="0"/>
          <a:lstStyle>
            <a:lvl1pPr marL="0" indent="0">
              <a:lnSpc>
                <a:spcPct val="100000"/>
              </a:lnSpc>
              <a:spcBef>
                <a:spcPts val="0"/>
              </a:spcBef>
              <a:spcAft>
                <a:spcPts val="1200"/>
              </a:spcAft>
              <a:buFontTx/>
              <a:buNone/>
              <a:defRPr sz="2400">
                <a:latin typeface="+mn-lt"/>
                <a:ea typeface="BMW Type Global Pro Regular" pitchFamily="2" charset="0"/>
                <a:cs typeface="BMW Type Global Pro Regular" pitchFamily="2" charset="0"/>
              </a:defRPr>
            </a:lvl1pPr>
            <a:lvl2pPr marL="285750" indent="-285750">
              <a:lnSpc>
                <a:spcPct val="100000"/>
              </a:lnSpc>
              <a:spcBef>
                <a:spcPts val="0"/>
              </a:spcBef>
              <a:spcAft>
                <a:spcPts val="1200"/>
              </a:spcAft>
              <a:buFont typeface="Symbol" pitchFamily="18" charset="2"/>
              <a:buChar char="-"/>
              <a:defRPr sz="2400">
                <a:latin typeface="+mn-lt"/>
                <a:ea typeface="BMW Type Global Pro Regular" pitchFamily="2" charset="0"/>
                <a:cs typeface="BMW Type Global Pro Regular" pitchFamily="2" charset="0"/>
              </a:defRPr>
            </a:lvl2pPr>
            <a:lvl3pPr marL="633413" indent="-228600">
              <a:lnSpc>
                <a:spcPct val="100000"/>
              </a:lnSpc>
              <a:spcBef>
                <a:spcPts val="0"/>
              </a:spcBef>
              <a:spcAft>
                <a:spcPts val="1200"/>
              </a:spcAft>
              <a:buFont typeface="Symbol" pitchFamily="18" charset="2"/>
              <a:buChar char="-"/>
              <a:defRPr sz="2400">
                <a:latin typeface="+mn-lt"/>
                <a:ea typeface="BMW Type Global Pro Regular" pitchFamily="2" charset="0"/>
                <a:cs typeface="BMW Type Global Pro Regular" pitchFamily="2" charset="0"/>
              </a:defRPr>
            </a:lvl3pPr>
            <a:lvl4pPr marL="985838" indent="-228600">
              <a:lnSpc>
                <a:spcPct val="100000"/>
              </a:lnSpc>
              <a:spcBef>
                <a:spcPts val="0"/>
              </a:spcBef>
              <a:spcAft>
                <a:spcPts val="1200"/>
              </a:spcAft>
              <a:buFont typeface="Symbol" pitchFamily="18" charset="2"/>
              <a:buChar char="-"/>
              <a:defRPr sz="2400">
                <a:latin typeface="+mn-lt"/>
                <a:ea typeface="BMW Type Global Pro Regular" pitchFamily="2" charset="0"/>
                <a:cs typeface="BMW Type Global Pro Regular" pitchFamily="2" charset="0"/>
              </a:defRPr>
            </a:lvl4pPr>
            <a:lvl5pPr marL="1349375" indent="-228600">
              <a:lnSpc>
                <a:spcPct val="100000"/>
              </a:lnSpc>
              <a:spcBef>
                <a:spcPts val="0"/>
              </a:spcBef>
              <a:spcAft>
                <a:spcPts val="1200"/>
              </a:spcAft>
              <a:buFont typeface="Symbol" pitchFamily="18" charset="2"/>
              <a:buChar char="-"/>
              <a:defRPr sz="2400">
                <a:latin typeface="+mn-lt"/>
                <a:ea typeface="BMW Type Global Pro Regular" pitchFamily="2" charset="0"/>
                <a:cs typeface="BMW Type Global Pro Regular" pitchFamily="2" charset="0"/>
              </a:defRPr>
            </a:lvl5pPr>
          </a:lstStyle>
          <a:p>
            <a:pPr lvl="0"/>
            <a:r>
              <a:rPr lang="de-DE" dirty="0" smtClean="0"/>
              <a:t>Fließtext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 xmlns:p14="http://schemas.microsoft.com/office/powerpoint/2010/main" val="9033830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ohne Bild, Headline 2-zeilig">
    <p:spTree>
      <p:nvGrpSpPr>
        <p:cNvPr id="1" name=""/>
        <p:cNvGrpSpPr/>
        <p:nvPr/>
      </p:nvGrpSpPr>
      <p:grpSpPr>
        <a:xfrm>
          <a:off x="0" y="0"/>
          <a:ext cx="0" cy="0"/>
          <a:chOff x="0" y="0"/>
          <a:chExt cx="0" cy="0"/>
        </a:xfrm>
      </p:grpSpPr>
      <p:sp>
        <p:nvSpPr>
          <p:cNvPr id="10" name="Textplatzhalter 24"/>
          <p:cNvSpPr>
            <a:spLocks noGrp="1"/>
          </p:cNvSpPr>
          <p:nvPr>
            <p:ph type="body" sz="quarter" idx="18" hasCustomPrompt="1"/>
          </p:nvPr>
        </p:nvSpPr>
        <p:spPr>
          <a:xfrm>
            <a:off x="469617" y="2227503"/>
            <a:ext cx="3573201" cy="379087"/>
          </a:xfrm>
          <a:prstGeom prst="rect">
            <a:avLst/>
          </a:prstGeom>
        </p:spPr>
        <p:txBody>
          <a:bodyPr lIns="0" tIns="0" rIns="0" bIns="0"/>
          <a:lstStyle>
            <a:lvl1pPr marL="0" indent="0">
              <a:buNone/>
              <a:defRPr sz="1100">
                <a:latin typeface="+mn-lt"/>
                <a:ea typeface="BMW Type Global Pro Regular" pitchFamily="2" charset="0"/>
                <a:cs typeface="BMW Type Global Pro Regular" pitchFamily="2" charset="0"/>
              </a:defRPr>
            </a:lvl1pPr>
            <a:lvl2pPr>
              <a:defRPr sz="1700"/>
            </a:lvl2pPr>
            <a:lvl3pPr>
              <a:defRPr sz="1700"/>
            </a:lvl3pPr>
            <a:lvl4pPr>
              <a:defRPr sz="1700"/>
            </a:lvl4pPr>
            <a:lvl5pPr>
              <a:defRPr sz="1700"/>
            </a:lvl5pPr>
          </a:lstStyle>
          <a:p>
            <a:pPr lvl="0"/>
            <a:r>
              <a:rPr lang="de-DE" dirty="0" smtClean="0"/>
              <a:t>Abteilung und Datum eingeben</a:t>
            </a:r>
          </a:p>
        </p:txBody>
      </p:sp>
      <p:sp>
        <p:nvSpPr>
          <p:cNvPr id="13" name="Textplatzhalter 8"/>
          <p:cNvSpPr>
            <a:spLocks noGrp="1"/>
          </p:cNvSpPr>
          <p:nvPr>
            <p:ph type="body" sz="quarter" idx="13" hasCustomPrompt="1"/>
          </p:nvPr>
        </p:nvSpPr>
        <p:spPr>
          <a:xfrm>
            <a:off x="456586" y="341559"/>
            <a:ext cx="8218362" cy="1098507"/>
          </a:xfrm>
          <a:prstGeom prst="rect">
            <a:avLst/>
          </a:prstGeom>
        </p:spPr>
        <p:txBody>
          <a:bodyPr lIns="0" tIns="0" rIns="0" bIns="0">
            <a:noAutofit/>
          </a:bodyPr>
          <a:lstStyle>
            <a:lvl1pPr marL="0" indent="0">
              <a:lnSpc>
                <a:spcPts val="4000"/>
              </a:lnSpc>
              <a:spcBef>
                <a:spcPts val="0"/>
              </a:spcBef>
              <a:buNone/>
              <a:defRPr sz="3600" b="1" cap="all" baseline="0">
                <a:solidFill>
                  <a:schemeClr val="bg2"/>
                </a:solidFill>
                <a:latin typeface="+mj-lt"/>
              </a:defRPr>
            </a:lvl1pPr>
          </a:lstStyle>
          <a:p>
            <a:pPr lvl="0"/>
            <a:r>
              <a:rPr lang="de-DE" dirty="0" smtClean="0"/>
              <a:t>Präsentationstitel DURCH KLICKEN </a:t>
            </a:r>
            <a:br>
              <a:rPr lang="de-DE" dirty="0" smtClean="0"/>
            </a:br>
            <a:r>
              <a:rPr lang="de-DE" dirty="0" smtClean="0"/>
              <a:t>BEARBEITEN</a:t>
            </a:r>
          </a:p>
        </p:txBody>
      </p:sp>
      <p:sp>
        <p:nvSpPr>
          <p:cNvPr id="14" name="Textplatzhalter 8"/>
          <p:cNvSpPr>
            <a:spLocks noGrp="1"/>
          </p:cNvSpPr>
          <p:nvPr>
            <p:ph type="body" sz="quarter" idx="14" hasCustomPrompt="1"/>
          </p:nvPr>
        </p:nvSpPr>
        <p:spPr>
          <a:xfrm>
            <a:off x="468313" y="1470169"/>
            <a:ext cx="8206635" cy="534059"/>
          </a:xfrm>
          <a:prstGeom prst="rect">
            <a:avLst/>
          </a:prstGeom>
        </p:spPr>
        <p:txBody>
          <a:bodyPr lIns="0" tIns="0" rIns="0" bIns="0"/>
          <a:lstStyle>
            <a:lvl1pPr marL="0" indent="0">
              <a:lnSpc>
                <a:spcPts val="2100"/>
              </a:lnSpc>
              <a:spcBef>
                <a:spcPts val="0"/>
              </a:spcBef>
              <a:buNone/>
              <a:defRPr sz="2000" b="1" cap="all" baseline="0">
                <a:latin typeface="+mj-lt"/>
              </a:defRPr>
            </a:lvl1pPr>
          </a:lstStyle>
          <a:p>
            <a:pPr lvl="0"/>
            <a:r>
              <a:rPr lang="de-DE" dirty="0" smtClean="0"/>
              <a:t>Subheadline durch klicken bearbeiten</a:t>
            </a:r>
          </a:p>
        </p:txBody>
      </p:sp>
      <p:pic>
        <p:nvPicPr>
          <p:cNvPr id="9" name="Bild 8" descr="BMWMINIRR_5fbg Kopie.jpg"/>
          <p:cNvPicPr>
            <a:picLocks noChangeAspect="1"/>
          </p:cNvPicPr>
          <p:nvPr userDrawn="1"/>
        </p:nvPicPr>
        <p:blipFill>
          <a:blip r:embed="rId2" cstate="print">
            <a:extLst>
              <a:ext uri="{28A0092B-C50C-407E-A947-70E740481C1C}">
                <a14:useLocalDpi xmlns="" xmlns:a14="http://schemas.microsoft.com/office/drawing/2010/main" val="0"/>
              </a:ext>
            </a:extLst>
          </a:blip>
          <a:srcRect/>
          <a:stretch>
            <a:fillRect/>
          </a:stretch>
        </p:blipFill>
        <p:spPr bwMode="auto">
          <a:xfrm>
            <a:off x="6569927" y="6021288"/>
            <a:ext cx="2105021" cy="44160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1" name="Bild 7" descr="WortmarkeBMWGROUP Kopie.jpg"/>
          <p:cNvPicPr>
            <a:picLocks noChangeAspect="1"/>
          </p:cNvPicPr>
          <p:nvPr userDrawn="1"/>
        </p:nvPicPr>
        <p:blipFill>
          <a:blip r:embed="rId3" cstate="print">
            <a:extLst>
              <a:ext uri="{28A0092B-C50C-407E-A947-70E740481C1C}">
                <a14:useLocalDpi xmlns="" xmlns:a14="http://schemas.microsoft.com/office/drawing/2010/main" val="0"/>
              </a:ext>
            </a:extLst>
          </a:blip>
          <a:srcRect/>
          <a:stretch>
            <a:fillRect/>
          </a:stretch>
        </p:blipFill>
        <p:spPr bwMode="auto">
          <a:xfrm>
            <a:off x="461064" y="6031922"/>
            <a:ext cx="909281" cy="4320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 xmlns:p14="http://schemas.microsoft.com/office/powerpoint/2010/main" val="197403351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ließtex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pPr algn="l"/>
            <a:r>
              <a:rPr lang="de-DE" smtClean="0"/>
              <a:t>Maturity Level Management Total Vehicle, Communication, Version 4.2</a:t>
            </a:r>
            <a:endParaRPr lang="de-DE" dirty="0"/>
          </a:p>
        </p:txBody>
      </p:sp>
      <p:sp>
        <p:nvSpPr>
          <p:cNvPr id="4" name="Foliennummernplatzhalter 3"/>
          <p:cNvSpPr>
            <a:spLocks noGrp="1"/>
          </p:cNvSpPr>
          <p:nvPr>
            <p:ph type="sldNum" sz="quarter" idx="11"/>
          </p:nvPr>
        </p:nvSpPr>
        <p:spPr/>
        <p:txBody>
          <a:bodyPr/>
          <a:lstStyle/>
          <a:p>
            <a:r>
              <a:rPr lang="de-DE" dirty="0" smtClean="0"/>
              <a:t>Seite </a:t>
            </a:r>
            <a:fld id="{AA807A42-CF27-4B84-8583-18EBE418342E}" type="slidenum">
              <a:rPr lang="de-DE" smtClean="0"/>
              <a:pPr/>
              <a:t>‹Nr.›</a:t>
            </a:fld>
            <a:endParaRPr lang="de-DE" dirty="0"/>
          </a:p>
        </p:txBody>
      </p:sp>
      <p:sp>
        <p:nvSpPr>
          <p:cNvPr id="5" name="Textplatzhalter 8"/>
          <p:cNvSpPr>
            <a:spLocks noGrp="1"/>
          </p:cNvSpPr>
          <p:nvPr>
            <p:ph type="body" sz="quarter" idx="13" hasCustomPrompt="1"/>
          </p:nvPr>
        </p:nvSpPr>
        <p:spPr>
          <a:xfrm>
            <a:off x="459687" y="403225"/>
            <a:ext cx="8217588" cy="960437"/>
          </a:xfrm>
          <a:prstGeom prst="rect">
            <a:avLst/>
          </a:prstGeom>
        </p:spPr>
        <p:txBody>
          <a:bodyPr lIns="0" tIns="0" rIns="0" bIns="0">
            <a:noAutofit/>
          </a:bodyPr>
          <a:lstStyle>
            <a:lvl1pPr marL="0" indent="0">
              <a:lnSpc>
                <a:spcPts val="2800"/>
              </a:lnSpc>
              <a:spcBef>
                <a:spcPts val="0"/>
              </a:spcBef>
              <a:buNone/>
              <a:defRPr sz="2800" b="1" cap="all" baseline="0">
                <a:solidFill>
                  <a:schemeClr val="bg2"/>
                </a:solidFill>
                <a:latin typeface="+mj-lt"/>
              </a:defRPr>
            </a:lvl1pPr>
          </a:lstStyle>
          <a:p>
            <a:pPr lvl="0"/>
            <a:r>
              <a:rPr lang="de-DE" dirty="0" smtClean="0"/>
              <a:t>HEADLINE DURCH KLICKEN </a:t>
            </a:r>
            <a:br>
              <a:rPr lang="de-DE" dirty="0" smtClean="0"/>
            </a:br>
            <a:r>
              <a:rPr lang="de-DE" dirty="0" smtClean="0"/>
              <a:t>BEARBEITEN</a:t>
            </a:r>
          </a:p>
        </p:txBody>
      </p:sp>
      <p:sp>
        <p:nvSpPr>
          <p:cNvPr id="6" name="Textplatzhalter 7"/>
          <p:cNvSpPr>
            <a:spLocks noGrp="1"/>
          </p:cNvSpPr>
          <p:nvPr>
            <p:ph type="body" sz="quarter" idx="14" hasCustomPrompt="1"/>
          </p:nvPr>
        </p:nvSpPr>
        <p:spPr>
          <a:xfrm>
            <a:off x="468313" y="1628679"/>
            <a:ext cx="8208962" cy="4861700"/>
          </a:xfrm>
          <a:prstGeom prst="rect">
            <a:avLst/>
          </a:prstGeom>
        </p:spPr>
        <p:txBody>
          <a:bodyPr lIns="0" tIns="0" rIns="0" bIns="0"/>
          <a:lstStyle>
            <a:lvl1pPr marL="0" indent="0">
              <a:lnSpc>
                <a:spcPct val="100000"/>
              </a:lnSpc>
              <a:spcBef>
                <a:spcPts val="0"/>
              </a:spcBef>
              <a:spcAft>
                <a:spcPts val="1200"/>
              </a:spcAft>
              <a:buFontTx/>
              <a:buNone/>
              <a:defRPr sz="2400">
                <a:latin typeface="+mn-lt"/>
                <a:ea typeface="BMW Type Global Pro Regular" pitchFamily="2" charset="0"/>
                <a:cs typeface="BMW Type Global Pro Regular" pitchFamily="2" charset="0"/>
              </a:defRPr>
            </a:lvl1pPr>
            <a:lvl2pPr marL="285750" indent="-285750">
              <a:lnSpc>
                <a:spcPct val="100000"/>
              </a:lnSpc>
              <a:spcBef>
                <a:spcPts val="0"/>
              </a:spcBef>
              <a:spcAft>
                <a:spcPts val="1200"/>
              </a:spcAft>
              <a:buFont typeface="Symbol" pitchFamily="18" charset="2"/>
              <a:buChar char="-"/>
              <a:defRPr sz="2400">
                <a:latin typeface="+mn-lt"/>
                <a:ea typeface="BMW Type Global Pro Regular" pitchFamily="2" charset="0"/>
                <a:cs typeface="BMW Type Global Pro Regular" pitchFamily="2" charset="0"/>
              </a:defRPr>
            </a:lvl2pPr>
            <a:lvl3pPr marL="633413" indent="-228600">
              <a:lnSpc>
                <a:spcPct val="100000"/>
              </a:lnSpc>
              <a:spcBef>
                <a:spcPts val="0"/>
              </a:spcBef>
              <a:spcAft>
                <a:spcPts val="1200"/>
              </a:spcAft>
              <a:buFont typeface="Symbol" pitchFamily="18" charset="2"/>
              <a:buChar char="-"/>
              <a:defRPr sz="2400">
                <a:latin typeface="+mn-lt"/>
                <a:ea typeface="BMW Type Global Pro Regular" pitchFamily="2" charset="0"/>
                <a:cs typeface="BMW Type Global Pro Regular" pitchFamily="2" charset="0"/>
              </a:defRPr>
            </a:lvl3pPr>
            <a:lvl4pPr marL="985838" indent="-228600">
              <a:lnSpc>
                <a:spcPct val="100000"/>
              </a:lnSpc>
              <a:spcBef>
                <a:spcPts val="0"/>
              </a:spcBef>
              <a:spcAft>
                <a:spcPts val="1200"/>
              </a:spcAft>
              <a:buFont typeface="Symbol" pitchFamily="18" charset="2"/>
              <a:buChar char="-"/>
              <a:defRPr sz="2400">
                <a:latin typeface="+mn-lt"/>
                <a:ea typeface="BMW Type Global Pro Regular" pitchFamily="2" charset="0"/>
                <a:cs typeface="BMW Type Global Pro Regular" pitchFamily="2" charset="0"/>
              </a:defRPr>
            </a:lvl4pPr>
            <a:lvl5pPr marL="1349375" indent="-228600">
              <a:lnSpc>
                <a:spcPct val="100000"/>
              </a:lnSpc>
              <a:spcBef>
                <a:spcPts val="0"/>
              </a:spcBef>
              <a:spcAft>
                <a:spcPts val="1200"/>
              </a:spcAft>
              <a:buFont typeface="Symbol" pitchFamily="18" charset="2"/>
              <a:buChar char="-"/>
              <a:defRPr sz="2400">
                <a:latin typeface="+mn-lt"/>
                <a:ea typeface="BMW Type Global Pro Regular" pitchFamily="2" charset="0"/>
                <a:cs typeface="BMW Type Global Pro Regular" pitchFamily="2" charset="0"/>
              </a:defRPr>
            </a:lvl5pPr>
          </a:lstStyle>
          <a:p>
            <a:pPr lvl="0"/>
            <a:r>
              <a:rPr lang="de-DE" dirty="0" smtClean="0"/>
              <a:t>Fließtext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 xmlns:p14="http://schemas.microsoft.com/office/powerpoint/2010/main" val="9033830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ließtext klein">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pPr algn="l"/>
            <a:r>
              <a:rPr lang="de-DE" smtClean="0"/>
              <a:t>Maturity Level Management Total Vehicle, Communication, Version 4.2</a:t>
            </a:r>
            <a:endParaRPr lang="de-DE" dirty="0"/>
          </a:p>
        </p:txBody>
      </p:sp>
      <p:sp>
        <p:nvSpPr>
          <p:cNvPr id="4" name="Foliennummernplatzhalter 3"/>
          <p:cNvSpPr>
            <a:spLocks noGrp="1"/>
          </p:cNvSpPr>
          <p:nvPr>
            <p:ph type="sldNum" sz="quarter" idx="11"/>
          </p:nvPr>
        </p:nvSpPr>
        <p:spPr/>
        <p:txBody>
          <a:bodyPr/>
          <a:lstStyle/>
          <a:p>
            <a:r>
              <a:rPr lang="de-DE" dirty="0" smtClean="0"/>
              <a:t>Seite </a:t>
            </a:r>
            <a:fld id="{AA807A42-CF27-4B84-8583-18EBE418342E}" type="slidenum">
              <a:rPr lang="de-DE" smtClean="0"/>
              <a:pPr/>
              <a:t>‹Nr.›</a:t>
            </a:fld>
            <a:endParaRPr lang="de-DE" dirty="0"/>
          </a:p>
        </p:txBody>
      </p:sp>
      <p:sp>
        <p:nvSpPr>
          <p:cNvPr id="5" name="Textplatzhalter 7"/>
          <p:cNvSpPr>
            <a:spLocks noGrp="1"/>
          </p:cNvSpPr>
          <p:nvPr>
            <p:ph type="body" sz="quarter" idx="14" hasCustomPrompt="1"/>
          </p:nvPr>
        </p:nvSpPr>
        <p:spPr>
          <a:xfrm>
            <a:off x="468313" y="1639833"/>
            <a:ext cx="8208962" cy="4888812"/>
          </a:xfrm>
          <a:prstGeom prst="rect">
            <a:avLst/>
          </a:prstGeom>
        </p:spPr>
        <p:txBody>
          <a:bodyPr lIns="0" tIns="0" rIns="0" bIns="0"/>
          <a:lstStyle>
            <a:lvl1pPr marL="0" indent="0">
              <a:lnSpc>
                <a:spcPct val="100000"/>
              </a:lnSpc>
              <a:spcBef>
                <a:spcPts val="0"/>
              </a:spcBef>
              <a:spcAft>
                <a:spcPts val="1000"/>
              </a:spcAft>
              <a:buFontTx/>
              <a:buNone/>
              <a:defRPr sz="2000">
                <a:latin typeface="+mn-lt"/>
                <a:ea typeface="BMW Type Global Pro Regular" pitchFamily="2" charset="0"/>
                <a:cs typeface="BMW Type Global Pro Regular" pitchFamily="2" charset="0"/>
              </a:defRPr>
            </a:lvl1pPr>
            <a:lvl2pPr marL="200025" indent="-200025">
              <a:lnSpc>
                <a:spcPct val="100000"/>
              </a:lnSpc>
              <a:spcBef>
                <a:spcPts val="0"/>
              </a:spcBef>
              <a:spcAft>
                <a:spcPts val="1000"/>
              </a:spcAft>
              <a:buFont typeface="Symbol" pitchFamily="18" charset="2"/>
              <a:buChar char="-"/>
              <a:defRPr sz="2000">
                <a:latin typeface="+mn-lt"/>
                <a:ea typeface="BMW Type Global Pro Regular" pitchFamily="2" charset="0"/>
                <a:cs typeface="BMW Type Global Pro Regular" pitchFamily="2" charset="0"/>
              </a:defRPr>
            </a:lvl2pPr>
            <a:lvl3pPr marL="452438" indent="-185738">
              <a:lnSpc>
                <a:spcPct val="100000"/>
              </a:lnSpc>
              <a:spcBef>
                <a:spcPts val="0"/>
              </a:spcBef>
              <a:spcAft>
                <a:spcPts val="1000"/>
              </a:spcAft>
              <a:buFont typeface="Symbol" pitchFamily="18" charset="2"/>
              <a:buChar char="-"/>
              <a:defRPr sz="2000">
                <a:latin typeface="+mn-lt"/>
                <a:ea typeface="BMW Type Global Pro Regular" pitchFamily="2" charset="0"/>
                <a:cs typeface="BMW Type Global Pro Regular" pitchFamily="2" charset="0"/>
              </a:defRPr>
            </a:lvl3pPr>
            <a:lvl4pPr marL="719138" indent="-184150">
              <a:lnSpc>
                <a:spcPct val="100000"/>
              </a:lnSpc>
              <a:spcBef>
                <a:spcPts val="0"/>
              </a:spcBef>
              <a:spcAft>
                <a:spcPts val="1000"/>
              </a:spcAft>
              <a:buFont typeface="Symbol" pitchFamily="18" charset="2"/>
              <a:buChar char="-"/>
              <a:defRPr sz="2000">
                <a:latin typeface="+mn-lt"/>
                <a:ea typeface="BMW Type Global Pro Regular" pitchFamily="2" charset="0"/>
                <a:cs typeface="BMW Type Global Pro Regular" pitchFamily="2" charset="0"/>
              </a:defRPr>
            </a:lvl4pPr>
            <a:lvl5pPr marL="985838" indent="-184150">
              <a:lnSpc>
                <a:spcPct val="100000"/>
              </a:lnSpc>
              <a:spcBef>
                <a:spcPts val="0"/>
              </a:spcBef>
              <a:spcAft>
                <a:spcPts val="1000"/>
              </a:spcAft>
              <a:buFont typeface="Symbol" pitchFamily="18" charset="2"/>
              <a:buChar char="-"/>
              <a:defRPr sz="2000">
                <a:latin typeface="+mn-lt"/>
                <a:ea typeface="BMW Type Global Pro Regular" pitchFamily="2" charset="0"/>
                <a:cs typeface="BMW Type Global Pro Regular" pitchFamily="2" charset="0"/>
              </a:defRPr>
            </a:lvl5pPr>
          </a:lstStyle>
          <a:p>
            <a:pPr lvl="0"/>
            <a:r>
              <a:rPr lang="de-DE" dirty="0" smtClean="0"/>
              <a:t>Kleinen Fließtext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Textplatzhalter 8"/>
          <p:cNvSpPr>
            <a:spLocks noGrp="1"/>
          </p:cNvSpPr>
          <p:nvPr>
            <p:ph type="body" sz="quarter" idx="13" hasCustomPrompt="1"/>
          </p:nvPr>
        </p:nvSpPr>
        <p:spPr>
          <a:xfrm>
            <a:off x="459687" y="403225"/>
            <a:ext cx="8217588" cy="960437"/>
          </a:xfrm>
          <a:prstGeom prst="rect">
            <a:avLst/>
          </a:prstGeom>
        </p:spPr>
        <p:txBody>
          <a:bodyPr lIns="0" tIns="0" rIns="0" bIns="0">
            <a:noAutofit/>
          </a:bodyPr>
          <a:lstStyle>
            <a:lvl1pPr marL="0" indent="0">
              <a:lnSpc>
                <a:spcPts val="2800"/>
              </a:lnSpc>
              <a:spcBef>
                <a:spcPts val="0"/>
              </a:spcBef>
              <a:buNone/>
              <a:defRPr sz="2800" b="1" cap="all" baseline="0">
                <a:solidFill>
                  <a:schemeClr val="bg2"/>
                </a:solidFill>
                <a:latin typeface="+mj-lt"/>
              </a:defRPr>
            </a:lvl1pPr>
          </a:lstStyle>
          <a:p>
            <a:pPr lvl="0"/>
            <a:r>
              <a:rPr lang="de-DE" dirty="0" smtClean="0"/>
              <a:t>HEADLINE DURCH KLICKEN </a:t>
            </a:r>
            <a:br>
              <a:rPr lang="de-DE" dirty="0" smtClean="0"/>
            </a:br>
            <a:r>
              <a:rPr lang="de-DE" dirty="0" smtClean="0"/>
              <a:t>BEARBEITEN</a:t>
            </a:r>
          </a:p>
        </p:txBody>
      </p:sp>
    </p:spTree>
    <p:extLst>
      <p:ext uri="{BB962C8B-B14F-4D97-AF65-F5344CB8AC3E}">
        <p14:creationId xmlns="" xmlns:p14="http://schemas.microsoft.com/office/powerpoint/2010/main" val="16005838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ufzählung">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pPr algn="l"/>
            <a:r>
              <a:rPr lang="de-DE" smtClean="0"/>
              <a:t>Maturity Level Management Total Vehicle, Communication, Version 4.2</a:t>
            </a:r>
            <a:endParaRPr lang="de-DE" dirty="0"/>
          </a:p>
        </p:txBody>
      </p:sp>
      <p:sp>
        <p:nvSpPr>
          <p:cNvPr id="4" name="Foliennummernplatzhalter 3"/>
          <p:cNvSpPr>
            <a:spLocks noGrp="1"/>
          </p:cNvSpPr>
          <p:nvPr>
            <p:ph type="sldNum" sz="quarter" idx="11"/>
          </p:nvPr>
        </p:nvSpPr>
        <p:spPr/>
        <p:txBody>
          <a:bodyPr/>
          <a:lstStyle/>
          <a:p>
            <a:r>
              <a:rPr lang="de-DE" dirty="0" smtClean="0"/>
              <a:t>Seite </a:t>
            </a:r>
            <a:fld id="{AA807A42-CF27-4B84-8583-18EBE418342E}" type="slidenum">
              <a:rPr lang="de-DE" smtClean="0"/>
              <a:pPr/>
              <a:t>‹Nr.›</a:t>
            </a:fld>
            <a:endParaRPr lang="de-DE" dirty="0"/>
          </a:p>
        </p:txBody>
      </p:sp>
      <p:sp>
        <p:nvSpPr>
          <p:cNvPr id="5" name="Textplatzhalter 8"/>
          <p:cNvSpPr>
            <a:spLocks noGrp="1"/>
          </p:cNvSpPr>
          <p:nvPr>
            <p:ph type="body" sz="quarter" idx="13" hasCustomPrompt="1"/>
          </p:nvPr>
        </p:nvSpPr>
        <p:spPr>
          <a:xfrm>
            <a:off x="459687" y="403225"/>
            <a:ext cx="8217588" cy="960437"/>
          </a:xfrm>
          <a:prstGeom prst="rect">
            <a:avLst/>
          </a:prstGeom>
        </p:spPr>
        <p:txBody>
          <a:bodyPr lIns="0" tIns="0" rIns="0" bIns="0">
            <a:noAutofit/>
          </a:bodyPr>
          <a:lstStyle>
            <a:lvl1pPr marL="0" indent="0">
              <a:lnSpc>
                <a:spcPts val="2800"/>
              </a:lnSpc>
              <a:spcBef>
                <a:spcPts val="0"/>
              </a:spcBef>
              <a:buNone/>
              <a:defRPr sz="2800" b="1" cap="all" baseline="0">
                <a:solidFill>
                  <a:schemeClr val="bg2"/>
                </a:solidFill>
                <a:latin typeface="+mj-lt"/>
              </a:defRPr>
            </a:lvl1pPr>
          </a:lstStyle>
          <a:p>
            <a:pPr lvl="0"/>
            <a:r>
              <a:rPr lang="de-DE" dirty="0" smtClean="0"/>
              <a:t>HEADLINE DURCH KLICKEN </a:t>
            </a:r>
            <a:br>
              <a:rPr lang="de-DE" dirty="0" smtClean="0"/>
            </a:br>
            <a:r>
              <a:rPr lang="de-DE" dirty="0" smtClean="0"/>
              <a:t>BEARBEITEN</a:t>
            </a:r>
          </a:p>
        </p:txBody>
      </p:sp>
      <p:sp>
        <p:nvSpPr>
          <p:cNvPr id="6" name="Textplatzhalter 7"/>
          <p:cNvSpPr>
            <a:spLocks noGrp="1"/>
          </p:cNvSpPr>
          <p:nvPr>
            <p:ph type="body" sz="quarter" idx="14" hasCustomPrompt="1"/>
          </p:nvPr>
        </p:nvSpPr>
        <p:spPr>
          <a:xfrm>
            <a:off x="468313" y="1629877"/>
            <a:ext cx="8208962" cy="4871560"/>
          </a:xfrm>
          <a:prstGeom prst="rect">
            <a:avLst/>
          </a:prstGeom>
        </p:spPr>
        <p:txBody>
          <a:bodyPr lIns="0" tIns="0" rIns="0" bIns="0"/>
          <a:lstStyle>
            <a:lvl1pPr marL="266700" indent="-266700">
              <a:lnSpc>
                <a:spcPct val="100000"/>
              </a:lnSpc>
              <a:spcBef>
                <a:spcPts val="0"/>
              </a:spcBef>
              <a:spcAft>
                <a:spcPts val="1200"/>
              </a:spcAft>
              <a:buFont typeface="Symbol" pitchFamily="18" charset="2"/>
              <a:buChar char="-"/>
              <a:defRPr sz="2400">
                <a:latin typeface="+mn-lt"/>
                <a:ea typeface="BMW Type Global Pro Regular" pitchFamily="2" charset="0"/>
                <a:cs typeface="BMW Type Global Pro Regular" pitchFamily="2" charset="0"/>
              </a:defRPr>
            </a:lvl1pPr>
            <a:lvl2pPr marL="715963" indent="-284163">
              <a:lnSpc>
                <a:spcPct val="100000"/>
              </a:lnSpc>
              <a:spcBef>
                <a:spcPts val="0"/>
              </a:spcBef>
              <a:spcAft>
                <a:spcPts val="1200"/>
              </a:spcAft>
              <a:buFont typeface="Symbol" pitchFamily="18" charset="2"/>
              <a:buChar char="-"/>
              <a:defRPr sz="2400">
                <a:latin typeface="+mn-lt"/>
                <a:ea typeface="BMW Type Global Pro Regular" pitchFamily="2" charset="0"/>
                <a:cs typeface="BMW Type Global Pro Regular" pitchFamily="2" charset="0"/>
              </a:defRPr>
            </a:lvl2pPr>
            <a:lvl3pPr marL="1077913" indent="-276225">
              <a:lnSpc>
                <a:spcPct val="100000"/>
              </a:lnSpc>
              <a:spcBef>
                <a:spcPts val="0"/>
              </a:spcBef>
              <a:spcAft>
                <a:spcPts val="1200"/>
              </a:spcAft>
              <a:buFont typeface="Symbol" pitchFamily="18" charset="2"/>
              <a:buChar char="-"/>
              <a:defRPr sz="2400">
                <a:latin typeface="+mn-lt"/>
                <a:ea typeface="BMW Type Global Pro Regular" pitchFamily="2" charset="0"/>
                <a:cs typeface="BMW Type Global Pro Regular" pitchFamily="2" charset="0"/>
              </a:defRPr>
            </a:lvl3pPr>
            <a:lvl4pPr marL="1431925" indent="-266700">
              <a:lnSpc>
                <a:spcPct val="100000"/>
              </a:lnSpc>
              <a:spcBef>
                <a:spcPts val="0"/>
              </a:spcBef>
              <a:spcAft>
                <a:spcPts val="1200"/>
              </a:spcAft>
              <a:buFont typeface="Symbol" pitchFamily="18" charset="2"/>
              <a:buChar char="-"/>
              <a:defRPr sz="2400">
                <a:latin typeface="+mn-lt"/>
                <a:ea typeface="BMW Type Global Pro Regular" pitchFamily="2" charset="0"/>
                <a:cs typeface="BMW Type Global Pro Regular" pitchFamily="2" charset="0"/>
              </a:defRPr>
            </a:lvl4pPr>
            <a:lvl5pPr marL="1793875" indent="-266700">
              <a:lnSpc>
                <a:spcPct val="100000"/>
              </a:lnSpc>
              <a:spcBef>
                <a:spcPts val="0"/>
              </a:spcBef>
              <a:spcAft>
                <a:spcPts val="1200"/>
              </a:spcAft>
              <a:buFont typeface="Symbol" pitchFamily="18" charset="2"/>
              <a:buChar char="-"/>
              <a:defRPr sz="2400">
                <a:latin typeface="+mn-lt"/>
                <a:ea typeface="BMW Type Global Pro Regular" pitchFamily="2" charset="0"/>
                <a:cs typeface="BMW Type Global Pro Regular" pitchFamily="2" charset="0"/>
              </a:defRPr>
            </a:lvl5pPr>
          </a:lstStyle>
          <a:p>
            <a:pPr lvl="0"/>
            <a:r>
              <a:rPr lang="de-DE" dirty="0" smtClean="0"/>
              <a:t>Aufzählung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 xmlns:p14="http://schemas.microsoft.com/office/powerpoint/2010/main" val="22293463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ufzählung klein">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pPr algn="l"/>
            <a:r>
              <a:rPr lang="de-DE" smtClean="0"/>
              <a:t>Maturity Level Management Total Vehicle, Communication, Version 4.2</a:t>
            </a:r>
            <a:endParaRPr lang="de-DE" dirty="0"/>
          </a:p>
        </p:txBody>
      </p:sp>
      <p:sp>
        <p:nvSpPr>
          <p:cNvPr id="4" name="Foliennummernplatzhalter 3"/>
          <p:cNvSpPr>
            <a:spLocks noGrp="1"/>
          </p:cNvSpPr>
          <p:nvPr>
            <p:ph type="sldNum" sz="quarter" idx="11"/>
          </p:nvPr>
        </p:nvSpPr>
        <p:spPr/>
        <p:txBody>
          <a:bodyPr/>
          <a:lstStyle/>
          <a:p>
            <a:r>
              <a:rPr lang="de-DE" dirty="0" smtClean="0"/>
              <a:t>Seite </a:t>
            </a:r>
            <a:fld id="{AA807A42-CF27-4B84-8583-18EBE418342E}" type="slidenum">
              <a:rPr lang="de-DE" smtClean="0"/>
              <a:pPr/>
              <a:t>‹Nr.›</a:t>
            </a:fld>
            <a:endParaRPr lang="de-DE" dirty="0"/>
          </a:p>
        </p:txBody>
      </p:sp>
      <p:sp>
        <p:nvSpPr>
          <p:cNvPr id="5" name="Textplatzhalter 8"/>
          <p:cNvSpPr>
            <a:spLocks noGrp="1"/>
          </p:cNvSpPr>
          <p:nvPr>
            <p:ph type="body" sz="quarter" idx="13" hasCustomPrompt="1"/>
          </p:nvPr>
        </p:nvSpPr>
        <p:spPr>
          <a:xfrm>
            <a:off x="459687" y="403225"/>
            <a:ext cx="8217588" cy="960437"/>
          </a:xfrm>
          <a:prstGeom prst="rect">
            <a:avLst/>
          </a:prstGeom>
        </p:spPr>
        <p:txBody>
          <a:bodyPr lIns="0" tIns="0" rIns="0" bIns="0">
            <a:noAutofit/>
          </a:bodyPr>
          <a:lstStyle>
            <a:lvl1pPr marL="0" indent="0">
              <a:lnSpc>
                <a:spcPts val="2800"/>
              </a:lnSpc>
              <a:spcBef>
                <a:spcPts val="0"/>
              </a:spcBef>
              <a:buNone/>
              <a:defRPr sz="2800" b="1" cap="all" baseline="0">
                <a:solidFill>
                  <a:schemeClr val="bg2"/>
                </a:solidFill>
                <a:latin typeface="+mj-lt"/>
              </a:defRPr>
            </a:lvl1pPr>
          </a:lstStyle>
          <a:p>
            <a:pPr lvl="0"/>
            <a:r>
              <a:rPr lang="de-DE" dirty="0" smtClean="0"/>
              <a:t>HEADLINE DURCH KLICKEN </a:t>
            </a:r>
            <a:br>
              <a:rPr lang="de-DE" dirty="0" smtClean="0"/>
            </a:br>
            <a:r>
              <a:rPr lang="de-DE" dirty="0" smtClean="0"/>
              <a:t>BEARBEITEN</a:t>
            </a:r>
          </a:p>
        </p:txBody>
      </p:sp>
      <p:sp>
        <p:nvSpPr>
          <p:cNvPr id="7" name="Textplatzhalter 7"/>
          <p:cNvSpPr>
            <a:spLocks noGrp="1"/>
          </p:cNvSpPr>
          <p:nvPr>
            <p:ph type="body" sz="quarter" idx="14" hasCustomPrompt="1"/>
          </p:nvPr>
        </p:nvSpPr>
        <p:spPr>
          <a:xfrm>
            <a:off x="468313" y="1641417"/>
            <a:ext cx="8208962" cy="4884796"/>
          </a:xfrm>
          <a:prstGeom prst="rect">
            <a:avLst/>
          </a:prstGeom>
        </p:spPr>
        <p:txBody>
          <a:bodyPr lIns="0" tIns="0" rIns="0" bIns="0"/>
          <a:lstStyle>
            <a:lvl1pPr marL="180975" indent="-180975">
              <a:lnSpc>
                <a:spcPct val="100000"/>
              </a:lnSpc>
              <a:spcBef>
                <a:spcPts val="0"/>
              </a:spcBef>
              <a:spcAft>
                <a:spcPts val="1000"/>
              </a:spcAft>
              <a:buFont typeface="Symbol" pitchFamily="18" charset="2"/>
              <a:buChar char="-"/>
              <a:defRPr sz="2000">
                <a:latin typeface="+mn-lt"/>
                <a:ea typeface="BMW Type Global Pro Regular" pitchFamily="2" charset="0"/>
                <a:cs typeface="BMW Type Global Pro Regular" pitchFamily="2" charset="0"/>
              </a:defRPr>
            </a:lvl1pPr>
            <a:lvl2pPr marL="450850" indent="-182563">
              <a:lnSpc>
                <a:spcPct val="100000"/>
              </a:lnSpc>
              <a:spcBef>
                <a:spcPts val="0"/>
              </a:spcBef>
              <a:spcAft>
                <a:spcPts val="1000"/>
              </a:spcAft>
              <a:buFont typeface="Symbol" pitchFamily="18" charset="2"/>
              <a:buChar char="-"/>
              <a:defRPr sz="2000">
                <a:latin typeface="+mn-lt"/>
                <a:ea typeface="BMW Type Global Pro Regular" pitchFamily="2" charset="0"/>
                <a:cs typeface="BMW Type Global Pro Regular" pitchFamily="2" charset="0"/>
              </a:defRPr>
            </a:lvl2pPr>
            <a:lvl3pPr marL="719138" indent="-184150">
              <a:lnSpc>
                <a:spcPct val="100000"/>
              </a:lnSpc>
              <a:spcBef>
                <a:spcPts val="0"/>
              </a:spcBef>
              <a:spcAft>
                <a:spcPts val="1000"/>
              </a:spcAft>
              <a:buFont typeface="Symbol" pitchFamily="18" charset="2"/>
              <a:buChar char="-"/>
              <a:defRPr sz="2000">
                <a:latin typeface="+mn-lt"/>
                <a:ea typeface="BMW Type Global Pro Regular" pitchFamily="2" charset="0"/>
                <a:cs typeface="BMW Type Global Pro Regular" pitchFamily="2" charset="0"/>
              </a:defRPr>
            </a:lvl3pPr>
            <a:lvl4pPr marL="985838" indent="-176213">
              <a:lnSpc>
                <a:spcPct val="100000"/>
              </a:lnSpc>
              <a:spcBef>
                <a:spcPts val="0"/>
              </a:spcBef>
              <a:spcAft>
                <a:spcPts val="1000"/>
              </a:spcAft>
              <a:buFont typeface="Symbol" pitchFamily="18" charset="2"/>
              <a:buChar char="-"/>
              <a:defRPr sz="2000">
                <a:latin typeface="+mn-lt"/>
                <a:ea typeface="BMW Type Global Pro Regular" pitchFamily="2" charset="0"/>
                <a:cs typeface="BMW Type Global Pro Regular" pitchFamily="2" charset="0"/>
              </a:defRPr>
            </a:lvl4pPr>
            <a:lvl5pPr marL="1262063" indent="-184150">
              <a:lnSpc>
                <a:spcPct val="100000"/>
              </a:lnSpc>
              <a:spcBef>
                <a:spcPts val="0"/>
              </a:spcBef>
              <a:spcAft>
                <a:spcPts val="1000"/>
              </a:spcAft>
              <a:buFont typeface="Symbol" pitchFamily="18" charset="2"/>
              <a:buChar char="-"/>
              <a:defRPr sz="2000">
                <a:latin typeface="+mn-lt"/>
                <a:ea typeface="BMW Type Global Pro Regular" pitchFamily="2" charset="0"/>
                <a:cs typeface="BMW Type Global Pro Regular" pitchFamily="2" charset="0"/>
              </a:defRPr>
            </a:lvl5pPr>
          </a:lstStyle>
          <a:p>
            <a:pPr lvl="0"/>
            <a:r>
              <a:rPr lang="de-DE" dirty="0" smtClean="0"/>
              <a:t>Kleine Aufzählung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 xmlns:p14="http://schemas.microsoft.com/office/powerpoint/2010/main" val="34482424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Bild mit Fußzeil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pPr algn="l"/>
            <a:r>
              <a:rPr lang="de-DE" smtClean="0"/>
              <a:t>Maturity Level Management Total Vehicle, Communication, Version 4.2</a:t>
            </a:r>
            <a:endParaRPr lang="de-DE" dirty="0"/>
          </a:p>
        </p:txBody>
      </p:sp>
      <p:sp>
        <p:nvSpPr>
          <p:cNvPr id="4" name="Foliennummernplatzhalter 3"/>
          <p:cNvSpPr>
            <a:spLocks noGrp="1"/>
          </p:cNvSpPr>
          <p:nvPr>
            <p:ph type="sldNum" sz="quarter" idx="11"/>
          </p:nvPr>
        </p:nvSpPr>
        <p:spPr/>
        <p:txBody>
          <a:bodyPr/>
          <a:lstStyle/>
          <a:p>
            <a:r>
              <a:rPr lang="de-DE" dirty="0" smtClean="0"/>
              <a:t>Seite </a:t>
            </a:r>
            <a:fld id="{AA807A42-CF27-4B84-8583-18EBE418342E}" type="slidenum">
              <a:rPr lang="de-DE" smtClean="0"/>
              <a:pPr/>
              <a:t>‹Nr.›</a:t>
            </a:fld>
            <a:endParaRPr lang="de-DE" dirty="0"/>
          </a:p>
        </p:txBody>
      </p:sp>
      <p:sp>
        <p:nvSpPr>
          <p:cNvPr id="5" name="Textplatzhalter 8"/>
          <p:cNvSpPr>
            <a:spLocks noGrp="1"/>
          </p:cNvSpPr>
          <p:nvPr>
            <p:ph type="body" sz="quarter" idx="13" hasCustomPrompt="1"/>
          </p:nvPr>
        </p:nvSpPr>
        <p:spPr>
          <a:xfrm>
            <a:off x="459687" y="403225"/>
            <a:ext cx="8217588" cy="960437"/>
          </a:xfrm>
          <a:prstGeom prst="rect">
            <a:avLst/>
          </a:prstGeom>
        </p:spPr>
        <p:txBody>
          <a:bodyPr lIns="0" tIns="0" rIns="0" bIns="0">
            <a:noAutofit/>
          </a:bodyPr>
          <a:lstStyle>
            <a:lvl1pPr marL="0" indent="0">
              <a:lnSpc>
                <a:spcPts val="2800"/>
              </a:lnSpc>
              <a:spcBef>
                <a:spcPts val="0"/>
              </a:spcBef>
              <a:buNone/>
              <a:defRPr sz="2800" b="1" cap="all" baseline="0">
                <a:solidFill>
                  <a:schemeClr val="bg2"/>
                </a:solidFill>
                <a:latin typeface="+mj-lt"/>
              </a:defRPr>
            </a:lvl1pPr>
          </a:lstStyle>
          <a:p>
            <a:pPr lvl="0"/>
            <a:r>
              <a:rPr lang="de-DE" dirty="0" smtClean="0"/>
              <a:t>HEADLINE DURCH KLICKEN </a:t>
            </a:r>
            <a:br>
              <a:rPr lang="de-DE" dirty="0" smtClean="0"/>
            </a:br>
            <a:r>
              <a:rPr lang="de-DE" dirty="0" smtClean="0"/>
              <a:t>BEARBEITEN</a:t>
            </a:r>
          </a:p>
        </p:txBody>
      </p:sp>
      <p:sp>
        <p:nvSpPr>
          <p:cNvPr id="6" name="Bildplatzhalter 6"/>
          <p:cNvSpPr>
            <a:spLocks noGrp="1"/>
          </p:cNvSpPr>
          <p:nvPr>
            <p:ph type="pic" sz="quarter" idx="14" hasCustomPrompt="1"/>
          </p:nvPr>
        </p:nvSpPr>
        <p:spPr>
          <a:xfrm>
            <a:off x="2" y="1701800"/>
            <a:ext cx="9144001" cy="4824413"/>
          </a:xfrm>
          <a:prstGeom prst="rect">
            <a:avLst/>
          </a:prstGeom>
          <a:pattFill prst="wdUpDiag">
            <a:fgClr>
              <a:schemeClr val="bg1">
                <a:lumMod val="75000"/>
              </a:schemeClr>
            </a:fgClr>
            <a:bgClr>
              <a:schemeClr val="bg1"/>
            </a:bgClr>
          </a:pattFill>
        </p:spPr>
        <p:txBody>
          <a:bodyPr/>
          <a:lstStyle>
            <a:lvl1pPr marL="0" indent="85725">
              <a:buNone/>
              <a:defRPr sz="2000">
                <a:latin typeface="BMW Group" pitchFamily="2" charset="0"/>
                <a:ea typeface="BMW Type Global Pro Regular" pitchFamily="2" charset="0"/>
                <a:cs typeface="BMW Group" pitchFamily="2" charset="0"/>
              </a:defRPr>
            </a:lvl1pPr>
          </a:lstStyle>
          <a:p>
            <a:r>
              <a:rPr lang="de-DE" dirty="0" smtClean="0"/>
              <a:t>Bild durch Klicken auf das Symbol einfügen</a:t>
            </a:r>
            <a:endParaRPr lang="de-DE" dirty="0"/>
          </a:p>
        </p:txBody>
      </p:sp>
    </p:spTree>
    <p:extLst>
      <p:ext uri="{BB962C8B-B14F-4D97-AF65-F5344CB8AC3E}">
        <p14:creationId xmlns="" xmlns:p14="http://schemas.microsoft.com/office/powerpoint/2010/main" val="3337197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Bild ohne Fußzeile">
    <p:spTree>
      <p:nvGrpSpPr>
        <p:cNvPr id="1" name=""/>
        <p:cNvGrpSpPr/>
        <p:nvPr/>
      </p:nvGrpSpPr>
      <p:grpSpPr>
        <a:xfrm>
          <a:off x="0" y="0"/>
          <a:ext cx="0" cy="0"/>
          <a:chOff x="0" y="0"/>
          <a:chExt cx="0" cy="0"/>
        </a:xfrm>
      </p:grpSpPr>
      <p:sp>
        <p:nvSpPr>
          <p:cNvPr id="5" name="Bildplatzhalter 6"/>
          <p:cNvSpPr>
            <a:spLocks noGrp="1"/>
          </p:cNvSpPr>
          <p:nvPr>
            <p:ph type="pic" sz="quarter" idx="14" hasCustomPrompt="1"/>
          </p:nvPr>
        </p:nvSpPr>
        <p:spPr>
          <a:xfrm>
            <a:off x="2" y="1701800"/>
            <a:ext cx="9144001" cy="5156201"/>
          </a:xfrm>
          <a:prstGeom prst="rect">
            <a:avLst/>
          </a:prstGeom>
          <a:pattFill prst="wdUpDiag">
            <a:fgClr>
              <a:schemeClr val="bg1">
                <a:lumMod val="75000"/>
              </a:schemeClr>
            </a:fgClr>
            <a:bgClr>
              <a:schemeClr val="bg1"/>
            </a:bgClr>
          </a:pattFill>
        </p:spPr>
        <p:txBody>
          <a:bodyPr/>
          <a:lstStyle>
            <a:lvl1pPr marL="0" indent="85725">
              <a:buNone/>
              <a:defRPr sz="2000">
                <a:latin typeface="BMW Group" pitchFamily="2" charset="0"/>
                <a:ea typeface="BMW Type Global Pro Regular" pitchFamily="2" charset="0"/>
                <a:cs typeface="BMW Group" pitchFamily="2" charset="0"/>
              </a:defRPr>
            </a:lvl1pPr>
          </a:lstStyle>
          <a:p>
            <a:r>
              <a:rPr lang="de-DE" dirty="0" smtClean="0"/>
              <a:t>Bild durch Klicken auf das Symbol einfügen</a:t>
            </a:r>
            <a:endParaRPr lang="de-DE" dirty="0"/>
          </a:p>
        </p:txBody>
      </p:sp>
      <p:sp>
        <p:nvSpPr>
          <p:cNvPr id="7" name="Textplatzhalter 8"/>
          <p:cNvSpPr>
            <a:spLocks noGrp="1"/>
          </p:cNvSpPr>
          <p:nvPr>
            <p:ph type="body" sz="quarter" idx="13" hasCustomPrompt="1"/>
          </p:nvPr>
        </p:nvSpPr>
        <p:spPr>
          <a:xfrm>
            <a:off x="459687" y="403225"/>
            <a:ext cx="8217588" cy="960437"/>
          </a:xfrm>
          <a:prstGeom prst="rect">
            <a:avLst/>
          </a:prstGeom>
        </p:spPr>
        <p:txBody>
          <a:bodyPr lIns="0" tIns="0" rIns="0" bIns="0">
            <a:noAutofit/>
          </a:bodyPr>
          <a:lstStyle>
            <a:lvl1pPr marL="0" indent="0">
              <a:lnSpc>
                <a:spcPts val="2800"/>
              </a:lnSpc>
              <a:spcBef>
                <a:spcPts val="0"/>
              </a:spcBef>
              <a:buNone/>
              <a:defRPr sz="2800" b="1" cap="all" baseline="0">
                <a:solidFill>
                  <a:schemeClr val="bg2"/>
                </a:solidFill>
                <a:latin typeface="+mj-lt"/>
              </a:defRPr>
            </a:lvl1pPr>
          </a:lstStyle>
          <a:p>
            <a:pPr lvl="0"/>
            <a:r>
              <a:rPr lang="de-DE" dirty="0" smtClean="0"/>
              <a:t>HEADLINE DURCH KLICKEN </a:t>
            </a:r>
            <a:br>
              <a:rPr lang="de-DE" dirty="0" smtClean="0"/>
            </a:br>
            <a:r>
              <a:rPr lang="de-DE" dirty="0" smtClean="0"/>
              <a:t>BEARBEITEN</a:t>
            </a:r>
          </a:p>
        </p:txBody>
      </p:sp>
    </p:spTree>
    <p:extLst>
      <p:ext uri="{BB962C8B-B14F-4D97-AF65-F5344CB8AC3E}">
        <p14:creationId xmlns="" xmlns:p14="http://schemas.microsoft.com/office/powerpoint/2010/main" val="32420607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gi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nvGraphicFramePr>
        <p:xfrm>
          <a:off x="1587" y="1588"/>
          <a:ext cx="1587" cy="1587"/>
        </p:xfrm>
        <a:graphic>
          <a:graphicData uri="http://schemas.openxmlformats.org/presentationml/2006/ole">
            <p:oleObj spid="_x0000_s20481" name="think-cell Folie" r:id="rId25" imgW="360" imgH="360" progId="TCLayout.ActiveDocument.1">
              <p:embed/>
            </p:oleObj>
          </a:graphicData>
        </a:graphic>
      </p:graphicFrame>
      <p:sp>
        <p:nvSpPr>
          <p:cNvPr id="4" name="Fußzeilenplatzhalter 3"/>
          <p:cNvSpPr>
            <a:spLocks noGrp="1"/>
          </p:cNvSpPr>
          <p:nvPr>
            <p:ph type="ftr" sz="quarter" idx="3"/>
          </p:nvPr>
        </p:nvSpPr>
        <p:spPr>
          <a:xfrm>
            <a:off x="468313" y="6526213"/>
            <a:ext cx="4106862" cy="331787"/>
          </a:xfrm>
          <a:prstGeom prst="rect">
            <a:avLst/>
          </a:prstGeom>
        </p:spPr>
        <p:txBody>
          <a:bodyPr vert="horz" lIns="0" tIns="0" rIns="0" bIns="0" rtlCol="0" anchor="ctr"/>
          <a:lstStyle>
            <a:lvl1pPr algn="ctr">
              <a:defRPr sz="900">
                <a:solidFill>
                  <a:schemeClr val="tx1"/>
                </a:solidFill>
              </a:defRPr>
            </a:lvl1pPr>
          </a:lstStyle>
          <a:p>
            <a:pPr algn="l"/>
            <a:r>
              <a:rPr lang="de-DE" smtClean="0"/>
              <a:t>Maturity Level Management Total Vehicle, Communication, Version 4.2</a:t>
            </a:r>
            <a:endParaRPr lang="de-DE" dirty="0"/>
          </a:p>
        </p:txBody>
      </p:sp>
      <p:sp>
        <p:nvSpPr>
          <p:cNvPr id="5" name="Foliennummernplatzhalter 4"/>
          <p:cNvSpPr>
            <a:spLocks noGrp="1"/>
          </p:cNvSpPr>
          <p:nvPr>
            <p:ph type="sldNum" sz="quarter" idx="4"/>
          </p:nvPr>
        </p:nvSpPr>
        <p:spPr>
          <a:xfrm>
            <a:off x="6553200" y="6528871"/>
            <a:ext cx="2124075" cy="329130"/>
          </a:xfrm>
          <a:prstGeom prst="rect">
            <a:avLst/>
          </a:prstGeom>
        </p:spPr>
        <p:txBody>
          <a:bodyPr vert="horz" lIns="0" tIns="0" rIns="0" bIns="0" rtlCol="0" anchor="ctr"/>
          <a:lstStyle>
            <a:lvl1pPr algn="r">
              <a:defRPr sz="900">
                <a:solidFill>
                  <a:schemeClr val="tx1"/>
                </a:solidFill>
              </a:defRPr>
            </a:lvl1pPr>
          </a:lstStyle>
          <a:p>
            <a:r>
              <a:rPr lang="de-DE" dirty="0" smtClean="0"/>
              <a:t>Seite </a:t>
            </a:r>
            <a:fld id="{AA807A42-CF27-4B84-8583-18EBE418342E}" type="slidenum">
              <a:rPr lang="de-DE" smtClean="0"/>
              <a:pPr/>
              <a:t>‹Nr.›</a:t>
            </a:fld>
            <a:endParaRPr lang="de-DE" dirty="0"/>
          </a:p>
        </p:txBody>
      </p:sp>
      <p:sp>
        <p:nvSpPr>
          <p:cNvPr id="6" name="Textfeld 5"/>
          <p:cNvSpPr txBox="1"/>
          <p:nvPr>
            <p:custDataLst>
              <p:tags r:id="rId23"/>
            </p:custDataLst>
          </p:nvPr>
        </p:nvSpPr>
        <p:spPr>
          <a:xfrm>
            <a:off x="7851228" y="60611"/>
            <a:ext cx="826047" cy="104927"/>
          </a:xfrm>
          <a:prstGeom prst="rect">
            <a:avLst/>
          </a:prstGeom>
        </p:spPr>
        <p:txBody>
          <a:bodyPr vert="horz" lIns="0" tIns="0" rIns="0" bIns="0" rtlCol="0" anchor="ctr"/>
          <a:lstStyle/>
          <a:p>
            <a:pPr algn="r"/>
            <a:r>
              <a:rPr lang="de-DE" sz="800" smtClean="0">
                <a:latin typeface="+mn-lt"/>
              </a:rPr>
              <a:t>CONFIDENTIAL</a:t>
            </a:r>
          </a:p>
        </p:txBody>
      </p:sp>
      <p:pic>
        <p:nvPicPr>
          <p:cNvPr id="8" name="Picture 2" descr="https://wcm2.bmwgroup.net/rc_edit/rc/Entwicklung/imagepool/000_E-Themen/EMT_for_ONE/EMTforONE.gif"/>
          <p:cNvPicPr>
            <a:picLocks noChangeAspect="1" noChangeArrowheads="1"/>
          </p:cNvPicPr>
          <p:nvPr userDrawn="1">
            <p:custDataLst>
              <p:tags r:id="rId24"/>
            </p:custDataLst>
          </p:nvPr>
        </p:nvPicPr>
        <p:blipFill>
          <a:blip r:embed="rId26" cstate="print"/>
          <a:srcRect/>
          <a:stretch>
            <a:fillRect/>
          </a:stretch>
        </p:blipFill>
        <p:spPr bwMode="auto">
          <a:xfrm>
            <a:off x="8097384" y="403225"/>
            <a:ext cx="579891" cy="579891"/>
          </a:xfrm>
          <a:prstGeom prst="rect">
            <a:avLst/>
          </a:prstGeom>
          <a:noFill/>
        </p:spPr>
      </p:pic>
    </p:spTree>
    <p:extLst>
      <p:ext uri="{BB962C8B-B14F-4D97-AF65-F5344CB8AC3E}">
        <p14:creationId xmlns="" xmlns:p14="http://schemas.microsoft.com/office/powerpoint/2010/main" val="3829165557"/>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72" r:id="rId3"/>
    <p:sldLayoutId id="2147483697" r:id="rId4"/>
    <p:sldLayoutId id="2147483698" r:id="rId5"/>
    <p:sldLayoutId id="2147483699" r:id="rId6"/>
    <p:sldLayoutId id="2147483700" r:id="rId7"/>
    <p:sldLayoutId id="2147483702" r:id="rId8"/>
    <p:sldLayoutId id="2147483691" r:id="rId9"/>
    <p:sldLayoutId id="2147483705" r:id="rId10"/>
    <p:sldLayoutId id="2147483703" r:id="rId11"/>
    <p:sldLayoutId id="2147483704" r:id="rId12"/>
    <p:sldLayoutId id="2147483706" r:id="rId13"/>
    <p:sldLayoutId id="2147483707" r:id="rId14"/>
    <p:sldLayoutId id="2147483708" r:id="rId15"/>
    <p:sldLayoutId id="2147483714" r:id="rId16"/>
    <p:sldLayoutId id="2147483715" r:id="rId17"/>
    <p:sldLayoutId id="2147483716" r:id="rId18"/>
    <p:sldLayoutId id="2147483717" r:id="rId19"/>
    <p:sldLayoutId id="2147483719" r:id="rId20"/>
  </p:sldLayoutIdLst>
  <p:timing>
    <p:tnLst>
      <p:par>
        <p:cTn id="1" dur="indefinite" restart="never" nodeType="tmRoot"/>
      </p:par>
    </p:tnLst>
  </p:timing>
  <p:hf sldNum="0" hdr="0" dt="0"/>
  <p:txStyles>
    <p:titleStyle>
      <a:lvl1pPr algn="l" defTabSz="914400" rtl="0" eaLnBrk="1" latinLnBrk="0" hangingPunct="1">
        <a:lnSpc>
          <a:spcPts val="3400"/>
        </a:lnSpc>
        <a:spcBef>
          <a:spcPct val="0"/>
        </a:spcBef>
        <a:buNone/>
        <a:defRPr sz="2800" b="1" kern="1200">
          <a:solidFill>
            <a:schemeClr val="bg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9.jpe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2.xml"/><Relationship Id="rId1" Type="http://schemas.openxmlformats.org/officeDocument/2006/relationships/vmlDrawing" Target="../drawings/vmlDrawing9.vml"/><Relationship Id="rId5" Type="http://schemas.openxmlformats.org/officeDocument/2006/relationships/image" Target="../media/image20.jpeg"/><Relationship Id="rId4" Type="http://schemas.openxmlformats.org/officeDocument/2006/relationships/image" Target="../media/image19.w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vmlDrawing" Target="../drawings/vmlDrawing10.vml"/><Relationship Id="rId5" Type="http://schemas.openxmlformats.org/officeDocument/2006/relationships/image" Target="../media/image20.jpeg"/><Relationship Id="rId4" Type="http://schemas.openxmlformats.org/officeDocument/2006/relationships/image" Target="../media/image21.jpeg"/></Relationships>
</file>

<file path=ppt/slides/_rels/slide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11.bin"/><Relationship Id="rId2" Type="http://schemas.openxmlformats.org/officeDocument/2006/relationships/slideLayout" Target="../slideLayouts/slideLayout18.xml"/><Relationship Id="rId1" Type="http://schemas.openxmlformats.org/officeDocument/2006/relationships/vmlDrawing" Target="../drawings/vmlDrawing11.vml"/><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6.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vmlDrawing" Target="../drawings/vmlDrawing13.vml"/><Relationship Id="rId5" Type="http://schemas.openxmlformats.org/officeDocument/2006/relationships/image" Target="../media/image24.png"/><Relationship Id="rId4" Type="http://schemas.openxmlformats.org/officeDocument/2006/relationships/image" Target="../media/image23.emf"/></Relationships>
</file>

<file path=ppt/slides/_rels/slide15.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image" Target="../media/image2.gif"/><Relationship Id="rId7" Type="http://schemas.openxmlformats.org/officeDocument/2006/relationships/image" Target="../media/image28.jpeg"/><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emf"/></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3" Type="http://schemas.openxmlformats.org/officeDocument/2006/relationships/image" Target="../media/image36.emf"/><Relationship Id="rId7" Type="http://schemas.openxmlformats.org/officeDocument/2006/relationships/image" Target="../media/image40.emf"/><Relationship Id="rId2" Type="http://schemas.openxmlformats.org/officeDocument/2006/relationships/image" Target="../media/image35.emf"/><Relationship Id="rId1" Type="http://schemas.openxmlformats.org/officeDocument/2006/relationships/slideLayout" Target="../slideLayouts/slideLayout5.xml"/><Relationship Id="rId6" Type="http://schemas.openxmlformats.org/officeDocument/2006/relationships/image" Target="../media/image39.emf"/><Relationship Id="rId5" Type="http://schemas.openxmlformats.org/officeDocument/2006/relationships/image" Target="../media/image38.emf"/><Relationship Id="rId4" Type="http://schemas.openxmlformats.org/officeDocument/2006/relationships/image" Target="../media/image37.jpeg"/></Relationships>
</file>

<file path=ppt/slides/_rels/slide18.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18" Type="http://schemas.openxmlformats.org/officeDocument/2006/relationships/tags" Target="../tags/tag52.xml"/><Relationship Id="rId3" Type="http://schemas.openxmlformats.org/officeDocument/2006/relationships/tags" Target="../tags/tag37.xml"/><Relationship Id="rId21" Type="http://schemas.openxmlformats.org/officeDocument/2006/relationships/slideLayout" Target="../slideLayouts/slideLayout19.xml"/><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tags" Target="../tags/tag51.xml"/><Relationship Id="rId2" Type="http://schemas.openxmlformats.org/officeDocument/2006/relationships/tags" Target="../tags/tag36.xml"/><Relationship Id="rId16" Type="http://schemas.openxmlformats.org/officeDocument/2006/relationships/tags" Target="../tags/tag50.xml"/><Relationship Id="rId20" Type="http://schemas.openxmlformats.org/officeDocument/2006/relationships/tags" Target="../tags/tag54.xml"/><Relationship Id="rId1" Type="http://schemas.openxmlformats.org/officeDocument/2006/relationships/vmlDrawing" Target="../drawings/vmlDrawing14.vml"/><Relationship Id="rId6" Type="http://schemas.openxmlformats.org/officeDocument/2006/relationships/tags" Target="../tags/tag40.xml"/><Relationship Id="rId11" Type="http://schemas.openxmlformats.org/officeDocument/2006/relationships/tags" Target="../tags/tag45.xml"/><Relationship Id="rId24" Type="http://schemas.openxmlformats.org/officeDocument/2006/relationships/image" Target="../media/image2.gif"/><Relationship Id="rId5" Type="http://schemas.openxmlformats.org/officeDocument/2006/relationships/tags" Target="../tags/tag39.xml"/><Relationship Id="rId15" Type="http://schemas.openxmlformats.org/officeDocument/2006/relationships/tags" Target="../tags/tag49.xml"/><Relationship Id="rId23" Type="http://schemas.openxmlformats.org/officeDocument/2006/relationships/oleObject" Target="../embeddings/oleObject15.bin"/><Relationship Id="rId10" Type="http://schemas.openxmlformats.org/officeDocument/2006/relationships/tags" Target="../tags/tag44.xml"/><Relationship Id="rId19" Type="http://schemas.openxmlformats.org/officeDocument/2006/relationships/tags" Target="../tags/tag53.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tags" Target="../tags/tag48.xml"/><Relationship Id="rId22"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vmlDrawing" Target="../drawings/vmlDrawing3.v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4.jpeg"/><Relationship Id="rId2" Type="http://schemas.openxmlformats.org/officeDocument/2006/relationships/slideLayout" Target="../slideLayouts/slideLayout4.xml"/><Relationship Id="rId1" Type="http://schemas.openxmlformats.org/officeDocument/2006/relationships/vmlDrawing" Target="../drawings/vmlDrawing4.v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tags" Target="../tags/tag30.xml"/><Relationship Id="rId3" Type="http://schemas.openxmlformats.org/officeDocument/2006/relationships/tags" Target="../tags/tag7.xml"/><Relationship Id="rId21" Type="http://schemas.openxmlformats.org/officeDocument/2006/relationships/tags" Target="../tags/tag25.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33" Type="http://schemas.openxmlformats.org/officeDocument/2006/relationships/image" Target="../media/image16.png"/><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29" Type="http://schemas.openxmlformats.org/officeDocument/2006/relationships/tags" Target="../tags/tag33.xml"/><Relationship Id="rId1" Type="http://schemas.openxmlformats.org/officeDocument/2006/relationships/vmlDrawing" Target="../drawings/vmlDrawing5.v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tags" Target="../tags/tag28.xml"/><Relationship Id="rId32" Type="http://schemas.openxmlformats.org/officeDocument/2006/relationships/oleObject" Target="../embeddings/oleObject5.bin"/><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tags" Target="../tags/tag32.xml"/><Relationship Id="rId10" Type="http://schemas.openxmlformats.org/officeDocument/2006/relationships/tags" Target="../tags/tag14.xml"/><Relationship Id="rId19" Type="http://schemas.openxmlformats.org/officeDocument/2006/relationships/tags" Target="../tags/tag23.xml"/><Relationship Id="rId31" Type="http://schemas.openxmlformats.org/officeDocument/2006/relationships/notesSlide" Target="../notesSlides/notesSlide2.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tags" Target="../tags/tag31.xml"/><Relationship Id="rId30"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vmlDrawing" Target="../drawings/vmlDrawing6.v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35.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4.xml"/><Relationship Id="rId1" Type="http://schemas.openxmlformats.org/officeDocument/2006/relationships/vmlDrawing" Target="../drawings/vmlDrawing8.vml"/><Relationship Id="rId4"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Bildplatzhalter 14" descr="BMW_EMT_V_1_0_m.Baustelle.jpg"/>
          <p:cNvPicPr>
            <a:picLocks noGrp="1" noChangeAspect="1"/>
          </p:cNvPicPr>
          <p:nvPr>
            <p:ph type="pic" sz="quarter" idx="19"/>
          </p:nvPr>
        </p:nvPicPr>
        <p:blipFill>
          <a:blip r:embed="rId2" cstate="print"/>
          <a:srcRect t="447" b="30300"/>
          <a:stretch>
            <a:fillRect/>
          </a:stretch>
        </p:blipFill>
        <p:spPr>
          <a:xfrm>
            <a:off x="-2625" y="-27384"/>
            <a:ext cx="9154707" cy="3743722"/>
          </a:xfrm>
        </p:spPr>
      </p:pic>
      <p:sp>
        <p:nvSpPr>
          <p:cNvPr id="11" name="Textplatzhalter 10"/>
          <p:cNvSpPr>
            <a:spLocks noGrp="1"/>
          </p:cNvSpPr>
          <p:nvPr>
            <p:ph type="body" sz="quarter" idx="13"/>
          </p:nvPr>
        </p:nvSpPr>
        <p:spPr/>
        <p:txBody>
          <a:bodyPr/>
          <a:lstStyle/>
          <a:p>
            <a:pPr marL="1077913"/>
            <a:r>
              <a:rPr lang="de-DE" dirty="0" err="1" smtClean="0"/>
              <a:t>Maturity</a:t>
            </a:r>
            <a:r>
              <a:rPr lang="de-DE" smtClean="0"/>
              <a:t> Level management.</a:t>
            </a:r>
            <a:endParaRPr lang="de-DE" dirty="0"/>
          </a:p>
        </p:txBody>
      </p:sp>
      <p:sp>
        <p:nvSpPr>
          <p:cNvPr id="12" name="Textplatzhalter 11"/>
          <p:cNvSpPr>
            <a:spLocks noGrp="1"/>
          </p:cNvSpPr>
          <p:nvPr>
            <p:ph type="body" sz="quarter" idx="14"/>
          </p:nvPr>
        </p:nvSpPr>
        <p:spPr/>
        <p:txBody>
          <a:bodyPr/>
          <a:lstStyle/>
          <a:p>
            <a:pPr marL="1077913">
              <a:tabLst>
                <a:tab pos="1077913" algn="l"/>
              </a:tabLst>
            </a:pPr>
            <a:r>
              <a:rPr lang="de-DE" smtClean="0"/>
              <a:t>CommuniCation.</a:t>
            </a:r>
            <a:endParaRPr lang="de-DE" dirty="0"/>
          </a:p>
        </p:txBody>
      </p:sp>
      <p:sp>
        <p:nvSpPr>
          <p:cNvPr id="5" name="Textplatzhalter 4"/>
          <p:cNvSpPr>
            <a:spLocks noGrp="1"/>
          </p:cNvSpPr>
          <p:nvPr>
            <p:ph type="body" sz="quarter" idx="18"/>
          </p:nvPr>
        </p:nvSpPr>
        <p:spPr/>
        <p:txBody>
          <a:bodyPr/>
          <a:lstStyle/>
          <a:p>
            <a:r>
              <a:rPr lang="de-DE" dirty="0" smtClean="0">
                <a:latin typeface="BMW Group Condensed" pitchFamily="34" charset="0"/>
              </a:rPr>
              <a:t>EG-7, EG-25</a:t>
            </a:r>
            <a:r>
              <a:rPr lang="de-DE" smtClean="0">
                <a:latin typeface="BMW Group Condensed" pitchFamily="34" charset="0"/>
              </a:rPr>
              <a:t>, V4.3, April </a:t>
            </a:r>
            <a:r>
              <a:rPr lang="de-DE" dirty="0" smtClean="0">
                <a:latin typeface="BMW Group Condensed" pitchFamily="34" charset="0"/>
              </a:rPr>
              <a:t>2014</a:t>
            </a:r>
            <a:endParaRPr lang="de-DE" dirty="0">
              <a:latin typeface="BMW Group Condensed" pitchFamily="34" charset="0"/>
            </a:endParaRPr>
          </a:p>
        </p:txBody>
      </p:sp>
      <p:pic>
        <p:nvPicPr>
          <p:cNvPr id="10" name="Picture 2" descr="https://wcm2.bmwgroup.net/rc_edit/rc/Entwicklung/imagepool/000_E-Themen/EMT_for_ONE/EMTforONE.gif"/>
          <p:cNvPicPr>
            <a:picLocks noChangeAspect="1" noChangeArrowheads="1"/>
          </p:cNvPicPr>
          <p:nvPr/>
        </p:nvPicPr>
        <p:blipFill>
          <a:blip r:embed="rId3" cstate="print"/>
          <a:srcRect/>
          <a:stretch>
            <a:fillRect/>
          </a:stretch>
        </p:blipFill>
        <p:spPr bwMode="auto">
          <a:xfrm>
            <a:off x="452438" y="4233649"/>
            <a:ext cx="962294" cy="962294"/>
          </a:xfrm>
          <a:prstGeom prst="rect">
            <a:avLst/>
          </a:prstGeom>
          <a:noFill/>
        </p:spPr>
      </p:pic>
    </p:spTree>
    <p:extLst>
      <p:ext uri="{BB962C8B-B14F-4D97-AF65-F5344CB8AC3E}">
        <p14:creationId xmlns="" xmlns:p14="http://schemas.microsoft.com/office/powerpoint/2010/main" val="424188592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Objekt 63" hidden="1"/>
          <p:cNvGraphicFramePr>
            <a:graphicFrameLocks noChangeAspect="1"/>
          </p:cNvGraphicFramePr>
          <p:nvPr/>
        </p:nvGraphicFramePr>
        <p:xfrm>
          <a:off x="0" y="0"/>
          <a:ext cx="158750" cy="158750"/>
        </p:xfrm>
        <a:graphic>
          <a:graphicData uri="http://schemas.openxmlformats.org/presentationml/2006/ole">
            <p:oleObj spid="_x0000_s196610" name="think-cell Folie" r:id="rId3" imgW="360" imgH="360" progId="TCLayout.ActiveDocument.1">
              <p:embed/>
            </p:oleObj>
          </a:graphicData>
        </a:graphic>
      </p:graphicFrame>
      <p:sp>
        <p:nvSpPr>
          <p:cNvPr id="32" name="Fußzeilenplatzhalter 31"/>
          <p:cNvSpPr>
            <a:spLocks noGrp="1"/>
          </p:cNvSpPr>
          <p:nvPr>
            <p:ph type="ftr" sz="quarter" idx="10"/>
          </p:nvPr>
        </p:nvSpPr>
        <p:spPr>
          <a:xfrm>
            <a:off x="468312" y="6526214"/>
            <a:ext cx="3202935" cy="330200"/>
          </a:xfrm>
        </p:spPr>
        <p:txBody>
          <a:bodyPr/>
          <a:lstStyle/>
          <a:p>
            <a:pPr algn="l"/>
            <a:r>
              <a:rPr lang="en-US" smtClean="0">
                <a:solidFill>
                  <a:prstClr val="black"/>
                </a:solidFill>
              </a:rPr>
              <a:t>Maturity Level Management Total Vehicle, Communication, Version 4.2</a:t>
            </a:r>
            <a:endParaRPr lang="en-US">
              <a:solidFill>
                <a:prstClr val="black"/>
              </a:solidFill>
            </a:endParaRPr>
          </a:p>
        </p:txBody>
      </p:sp>
      <p:sp>
        <p:nvSpPr>
          <p:cNvPr id="6" name="Textplatzhalter 5"/>
          <p:cNvSpPr>
            <a:spLocks noGrp="1"/>
          </p:cNvSpPr>
          <p:nvPr>
            <p:ph type="body" sz="quarter" idx="13"/>
          </p:nvPr>
        </p:nvSpPr>
        <p:spPr>
          <a:xfrm>
            <a:off x="459687" y="403225"/>
            <a:ext cx="8217588" cy="1081559"/>
          </a:xfrm>
        </p:spPr>
        <p:txBody>
          <a:bodyPr/>
          <a:lstStyle/>
          <a:p>
            <a:r>
              <a:rPr lang="en-US" dirty="0" smtClean="0"/>
              <a:t>Maturity Development</a:t>
            </a:r>
          </a:p>
          <a:p>
            <a:r>
              <a:rPr lang="en-US" dirty="0" smtClean="0"/>
              <a:t>From Component to total vehicle</a:t>
            </a:r>
          </a:p>
          <a:p>
            <a:r>
              <a:rPr lang="en-US" dirty="0" smtClean="0"/>
              <a:t>Maturity verification and Acceptance.</a:t>
            </a:r>
            <a:endParaRPr lang="en-US" dirty="0"/>
          </a:p>
        </p:txBody>
      </p:sp>
      <p:pic>
        <p:nvPicPr>
          <p:cNvPr id="98307" name="Picture 3" descr="C:\Documents and Settings\q155554\Local Settings\Temporary Internet Files\Content.IE5\WMT44CF7\MC900432063[1].wmf"/>
          <p:cNvPicPr>
            <a:picLocks noChangeAspect="1" noChangeArrowheads="1"/>
          </p:cNvPicPr>
          <p:nvPr/>
        </p:nvPicPr>
        <p:blipFill>
          <a:blip r:embed="rId4" cstate="print"/>
          <a:srcRect/>
          <a:stretch>
            <a:fillRect/>
          </a:stretch>
        </p:blipFill>
        <p:spPr bwMode="auto">
          <a:xfrm flipH="1">
            <a:off x="8244408" y="1124744"/>
            <a:ext cx="416001" cy="1169604"/>
          </a:xfrm>
          <a:prstGeom prst="rect">
            <a:avLst/>
          </a:prstGeom>
          <a:noFill/>
        </p:spPr>
      </p:pic>
      <p:sp>
        <p:nvSpPr>
          <p:cNvPr id="128" name="Textfeld 127"/>
          <p:cNvSpPr txBox="1"/>
          <p:nvPr/>
        </p:nvSpPr>
        <p:spPr>
          <a:xfrm>
            <a:off x="7452320" y="1469380"/>
            <a:ext cx="643265" cy="338554"/>
          </a:xfrm>
          <a:prstGeom prst="rect">
            <a:avLst/>
          </a:prstGeom>
          <a:ln>
            <a:solidFill>
              <a:schemeClr val="bg2"/>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fontAlgn="base">
              <a:spcBef>
                <a:spcPct val="0"/>
              </a:spcBef>
              <a:spcAft>
                <a:spcPct val="0"/>
              </a:spcAft>
            </a:pPr>
            <a:r>
              <a:rPr lang="en-US" sz="800" b="1" dirty="0" smtClean="0">
                <a:solidFill>
                  <a:prstClr val="black"/>
                </a:solidFill>
              </a:rPr>
              <a:t>Ticket for Testing</a:t>
            </a:r>
            <a:endParaRPr lang="en-US" sz="800" b="1" dirty="0">
              <a:solidFill>
                <a:prstClr val="black"/>
              </a:solidFill>
            </a:endParaRPr>
          </a:p>
        </p:txBody>
      </p:sp>
      <p:sp>
        <p:nvSpPr>
          <p:cNvPr id="156" name="Abgerundetes Rechteck 155"/>
          <p:cNvSpPr/>
          <p:nvPr/>
        </p:nvSpPr>
        <p:spPr>
          <a:xfrm>
            <a:off x="3823345" y="3501008"/>
            <a:ext cx="1656184" cy="1080120"/>
          </a:xfrm>
          <a:prstGeom prst="roundRect">
            <a:avLst/>
          </a:prstGeom>
          <a:solidFill>
            <a:schemeClr val="bg2">
              <a:lumMod val="60000"/>
              <a:lumOff val="40000"/>
            </a:schemeClr>
          </a:solidFill>
          <a:ln>
            <a:solidFill>
              <a:schemeClr val="bg2"/>
            </a:solidFill>
          </a:ln>
        </p:spPr>
        <p:style>
          <a:lnRef idx="2">
            <a:schemeClr val="dk1"/>
          </a:lnRef>
          <a:fillRef idx="1">
            <a:schemeClr val="lt1"/>
          </a:fillRef>
          <a:effectRef idx="0">
            <a:schemeClr val="dk1"/>
          </a:effectRef>
          <a:fontRef idx="minor">
            <a:schemeClr val="dk1"/>
          </a:fontRef>
        </p:style>
        <p:txBody>
          <a:bodyPr vert="horz" wrap="none" lIns="0" tIns="0" rIns="0" bIns="0" rtlCol="0" anchor="ctr"/>
          <a:lstStyle/>
          <a:p>
            <a:pPr algn="ctr"/>
            <a:r>
              <a:rPr lang="en-US" sz="2000" b="1" dirty="0" smtClean="0">
                <a:solidFill>
                  <a:schemeClr val="tx1"/>
                </a:solidFill>
              </a:rPr>
              <a:t>Sub-</a:t>
            </a:r>
          </a:p>
          <a:p>
            <a:pPr algn="ctr"/>
            <a:r>
              <a:rPr lang="en-US" sz="2000" b="1" dirty="0" smtClean="0">
                <a:solidFill>
                  <a:schemeClr val="tx1"/>
                </a:solidFill>
              </a:rPr>
              <a:t>system</a:t>
            </a:r>
          </a:p>
        </p:txBody>
      </p:sp>
      <p:sp>
        <p:nvSpPr>
          <p:cNvPr id="158" name="Abgerundetes Rechteck 157"/>
          <p:cNvSpPr/>
          <p:nvPr/>
        </p:nvSpPr>
        <p:spPr>
          <a:xfrm>
            <a:off x="5724128" y="1916832"/>
            <a:ext cx="1656184" cy="1080120"/>
          </a:xfrm>
          <a:prstGeom prst="roundRect">
            <a:avLst/>
          </a:prstGeom>
          <a:solidFill>
            <a:schemeClr val="bg2">
              <a:lumMod val="50000"/>
            </a:schemeClr>
          </a:solidFill>
          <a:ln>
            <a:solidFill>
              <a:schemeClr val="bg2"/>
            </a:solidFill>
          </a:ln>
        </p:spPr>
        <p:style>
          <a:lnRef idx="2">
            <a:schemeClr val="accent1"/>
          </a:lnRef>
          <a:fillRef idx="1">
            <a:schemeClr val="lt1"/>
          </a:fillRef>
          <a:effectRef idx="0">
            <a:schemeClr val="accent1"/>
          </a:effectRef>
          <a:fontRef idx="minor">
            <a:schemeClr val="dk1"/>
          </a:fontRef>
        </p:style>
        <p:txBody>
          <a:bodyPr vert="horz" wrap="none" lIns="0" tIns="0" rIns="0" bIns="0" rtlCol="0" anchor="ctr"/>
          <a:lstStyle/>
          <a:p>
            <a:pPr algn="ctr"/>
            <a:r>
              <a:rPr lang="en-US" sz="2000" b="1" dirty="0" smtClean="0">
                <a:solidFill>
                  <a:schemeClr val="bg1"/>
                </a:solidFill>
              </a:rPr>
              <a:t>Complete</a:t>
            </a:r>
          </a:p>
          <a:p>
            <a:pPr algn="ctr"/>
            <a:r>
              <a:rPr lang="en-US" sz="2000" b="1" dirty="0" smtClean="0">
                <a:solidFill>
                  <a:schemeClr val="bg1"/>
                </a:solidFill>
              </a:rPr>
              <a:t>Vehicle</a:t>
            </a:r>
          </a:p>
        </p:txBody>
      </p:sp>
      <p:pic>
        <p:nvPicPr>
          <p:cNvPr id="159" name="Picture 3" descr="C:\Documents and Settings\q155554\Local Settings\Temporary Internet Files\Content.IE5\WMT44CF7\MC900432063[1].wmf"/>
          <p:cNvPicPr>
            <a:picLocks noChangeAspect="1" noChangeArrowheads="1"/>
          </p:cNvPicPr>
          <p:nvPr/>
        </p:nvPicPr>
        <p:blipFill>
          <a:blip r:embed="rId4" cstate="print"/>
          <a:srcRect/>
          <a:stretch>
            <a:fillRect/>
          </a:stretch>
        </p:blipFill>
        <p:spPr bwMode="auto">
          <a:xfrm flipH="1">
            <a:off x="5705078" y="2475420"/>
            <a:ext cx="416001" cy="1169604"/>
          </a:xfrm>
          <a:prstGeom prst="rect">
            <a:avLst/>
          </a:prstGeom>
          <a:noFill/>
        </p:spPr>
      </p:pic>
      <p:pic>
        <p:nvPicPr>
          <p:cNvPr id="174" name="Picture 3" descr="C:\Documents and Settings\q155554\Local Settings\Temporary Internet Files\Content.IE5\WMT44CF7\MC900432063[1].wmf"/>
          <p:cNvPicPr>
            <a:picLocks noChangeAspect="1" noChangeArrowheads="1"/>
          </p:cNvPicPr>
          <p:nvPr/>
        </p:nvPicPr>
        <p:blipFill>
          <a:blip r:embed="rId4" cstate="print"/>
          <a:srcRect/>
          <a:stretch>
            <a:fillRect/>
          </a:stretch>
        </p:blipFill>
        <p:spPr bwMode="auto">
          <a:xfrm flipH="1">
            <a:off x="3805484" y="3880098"/>
            <a:ext cx="416001" cy="1169604"/>
          </a:xfrm>
          <a:prstGeom prst="rect">
            <a:avLst/>
          </a:prstGeom>
          <a:noFill/>
        </p:spPr>
      </p:pic>
      <p:sp>
        <p:nvSpPr>
          <p:cNvPr id="224" name="Textfeld 223"/>
          <p:cNvSpPr txBox="1"/>
          <p:nvPr/>
        </p:nvSpPr>
        <p:spPr>
          <a:xfrm>
            <a:off x="5148064" y="5301208"/>
            <a:ext cx="3528392" cy="1117288"/>
          </a:xfrm>
          <a:prstGeom prst="rect">
            <a:avLst/>
          </a:prstGeom>
          <a:ln>
            <a:solidFill>
              <a:schemeClr val="bg2">
                <a:lumMod val="75000"/>
              </a:schemeClr>
            </a:solidFill>
          </a:ln>
        </p:spPr>
        <p:style>
          <a:lnRef idx="2">
            <a:schemeClr val="accent6"/>
          </a:lnRef>
          <a:fillRef idx="1">
            <a:schemeClr val="lt1"/>
          </a:fillRef>
          <a:effectRef idx="0">
            <a:schemeClr val="accent6"/>
          </a:effectRef>
          <a:fontRef idx="minor">
            <a:schemeClr val="dk1"/>
          </a:fontRef>
        </p:style>
        <p:txBody>
          <a:bodyPr wrap="square" rtlCol="0" anchor="ctr">
            <a:noAutofit/>
          </a:bodyPr>
          <a:lstStyle/>
          <a:p>
            <a:pPr marL="180975" indent="-180975">
              <a:buFont typeface="Wingdings" pitchFamily="2" charset="2"/>
              <a:buChar char="§"/>
            </a:pPr>
            <a:r>
              <a:rPr lang="en-US" sz="1400" dirty="0" smtClean="0">
                <a:solidFill>
                  <a:prstClr val="black"/>
                </a:solidFill>
              </a:rPr>
              <a:t>Ticket = Maturity verification by supplier (respective maturity agreement)	</a:t>
            </a:r>
          </a:p>
          <a:p>
            <a:pPr marL="180975" indent="-180975">
              <a:buFont typeface="Wingdings" pitchFamily="2" charset="2"/>
              <a:buChar char="§"/>
            </a:pPr>
            <a:r>
              <a:rPr lang="en-US" sz="1400" dirty="0" smtClean="0">
                <a:solidFill>
                  <a:prstClr val="black"/>
                </a:solidFill>
              </a:rPr>
              <a:t>Lights = Maturity confirmation by consumer (customer)</a:t>
            </a:r>
            <a:endParaRPr lang="en-US" sz="1400" dirty="0">
              <a:solidFill>
                <a:prstClr val="black"/>
              </a:solidFill>
            </a:endParaRPr>
          </a:p>
        </p:txBody>
      </p:sp>
      <p:sp>
        <p:nvSpPr>
          <p:cNvPr id="225" name="Freeform 24"/>
          <p:cNvSpPr>
            <a:spLocks/>
          </p:cNvSpPr>
          <p:nvPr/>
        </p:nvSpPr>
        <p:spPr bwMode="auto">
          <a:xfrm rot="8097542" flipH="1">
            <a:off x="1403199" y="3362315"/>
            <a:ext cx="4609410" cy="892322"/>
          </a:xfrm>
          <a:custGeom>
            <a:avLst/>
            <a:gdLst/>
            <a:ahLst/>
            <a:cxnLst>
              <a:cxn ang="0">
                <a:pos x="0" y="594"/>
              </a:cxn>
              <a:cxn ang="0">
                <a:pos x="85" y="620"/>
              </a:cxn>
              <a:cxn ang="0">
                <a:pos x="119" y="627"/>
              </a:cxn>
              <a:cxn ang="0">
                <a:pos x="164" y="633"/>
              </a:cxn>
              <a:cxn ang="0">
                <a:pos x="223" y="638"/>
              </a:cxn>
              <a:cxn ang="0">
                <a:pos x="345" y="640"/>
              </a:cxn>
              <a:cxn ang="0">
                <a:pos x="408" y="639"/>
              </a:cxn>
              <a:cxn ang="0">
                <a:pos x="526" y="630"/>
              </a:cxn>
              <a:cxn ang="0">
                <a:pos x="607" y="618"/>
              </a:cxn>
              <a:cxn ang="0">
                <a:pos x="686" y="603"/>
              </a:cxn>
              <a:cxn ang="0">
                <a:pos x="770" y="584"/>
              </a:cxn>
              <a:cxn ang="0">
                <a:pos x="853" y="560"/>
              </a:cxn>
              <a:cxn ang="0">
                <a:pos x="917" y="540"/>
              </a:cxn>
              <a:cxn ang="0">
                <a:pos x="1002" y="505"/>
              </a:cxn>
              <a:cxn ang="0">
                <a:pos x="1066" y="476"/>
              </a:cxn>
              <a:cxn ang="0">
                <a:pos x="1132" y="441"/>
              </a:cxn>
              <a:cxn ang="0">
                <a:pos x="1202" y="402"/>
              </a:cxn>
              <a:cxn ang="0">
                <a:pos x="1237" y="377"/>
              </a:cxn>
              <a:cxn ang="0">
                <a:pos x="1277" y="346"/>
              </a:cxn>
              <a:cxn ang="0">
                <a:pos x="1310" y="317"/>
              </a:cxn>
              <a:cxn ang="0">
                <a:pos x="1335" y="290"/>
              </a:cxn>
              <a:cxn ang="0">
                <a:pos x="1360" y="268"/>
              </a:cxn>
              <a:cxn ang="0">
                <a:pos x="1456" y="358"/>
              </a:cxn>
              <a:cxn ang="0">
                <a:pos x="1456" y="306"/>
              </a:cxn>
              <a:cxn ang="0">
                <a:pos x="1462" y="246"/>
              </a:cxn>
              <a:cxn ang="0">
                <a:pos x="1472" y="185"/>
              </a:cxn>
              <a:cxn ang="0">
                <a:pos x="1492" y="118"/>
              </a:cxn>
              <a:cxn ang="0">
                <a:pos x="1511" y="64"/>
              </a:cxn>
              <a:cxn ang="0">
                <a:pos x="1545" y="0"/>
              </a:cxn>
              <a:cxn ang="0">
                <a:pos x="1472" y="26"/>
              </a:cxn>
              <a:cxn ang="0">
                <a:pos x="1398" y="48"/>
              </a:cxn>
              <a:cxn ang="0">
                <a:pos x="1315" y="65"/>
              </a:cxn>
              <a:cxn ang="0">
                <a:pos x="1242" y="76"/>
              </a:cxn>
              <a:cxn ang="0">
                <a:pos x="1200" y="80"/>
              </a:cxn>
              <a:cxn ang="0">
                <a:pos x="1140" y="76"/>
              </a:cxn>
              <a:cxn ang="0">
                <a:pos x="1240" y="167"/>
              </a:cxn>
              <a:cxn ang="0">
                <a:pos x="1196" y="211"/>
              </a:cxn>
              <a:cxn ang="0">
                <a:pos x="1146" y="249"/>
              </a:cxn>
              <a:cxn ang="0">
                <a:pos x="1090" y="291"/>
              </a:cxn>
              <a:cxn ang="0">
                <a:pos x="1023" y="331"/>
              </a:cxn>
              <a:cxn ang="0">
                <a:pos x="950" y="372"/>
              </a:cxn>
              <a:cxn ang="0">
                <a:pos x="882" y="406"/>
              </a:cxn>
              <a:cxn ang="0">
                <a:pos x="784" y="450"/>
              </a:cxn>
              <a:cxn ang="0">
                <a:pos x="698" y="481"/>
              </a:cxn>
              <a:cxn ang="0">
                <a:pos x="620" y="510"/>
              </a:cxn>
              <a:cxn ang="0">
                <a:pos x="533" y="536"/>
              </a:cxn>
              <a:cxn ang="0">
                <a:pos x="455" y="557"/>
              </a:cxn>
              <a:cxn ang="0">
                <a:pos x="398" y="569"/>
              </a:cxn>
              <a:cxn ang="0">
                <a:pos x="278" y="586"/>
              </a:cxn>
              <a:cxn ang="0">
                <a:pos x="244" y="590"/>
              </a:cxn>
              <a:cxn ang="0">
                <a:pos x="209" y="592"/>
              </a:cxn>
              <a:cxn ang="0">
                <a:pos x="178" y="594"/>
              </a:cxn>
              <a:cxn ang="0">
                <a:pos x="147" y="594"/>
              </a:cxn>
              <a:cxn ang="0">
                <a:pos x="114" y="596"/>
              </a:cxn>
              <a:cxn ang="0">
                <a:pos x="76" y="597"/>
              </a:cxn>
              <a:cxn ang="0">
                <a:pos x="41" y="597"/>
              </a:cxn>
              <a:cxn ang="0">
                <a:pos x="0" y="594"/>
              </a:cxn>
            </a:cxnLst>
            <a:rect l="0" t="0" r="r" b="b"/>
            <a:pathLst>
              <a:path w="1545" h="640">
                <a:moveTo>
                  <a:pt x="0" y="594"/>
                </a:moveTo>
                <a:lnTo>
                  <a:pt x="85" y="620"/>
                </a:lnTo>
                <a:lnTo>
                  <a:pt x="119" y="627"/>
                </a:lnTo>
                <a:lnTo>
                  <a:pt x="164" y="633"/>
                </a:lnTo>
                <a:lnTo>
                  <a:pt x="223" y="638"/>
                </a:lnTo>
                <a:lnTo>
                  <a:pt x="345" y="640"/>
                </a:lnTo>
                <a:lnTo>
                  <a:pt x="408" y="639"/>
                </a:lnTo>
                <a:lnTo>
                  <a:pt x="526" y="630"/>
                </a:lnTo>
                <a:lnTo>
                  <a:pt x="607" y="618"/>
                </a:lnTo>
                <a:lnTo>
                  <a:pt x="686" y="603"/>
                </a:lnTo>
                <a:lnTo>
                  <a:pt x="770" y="584"/>
                </a:lnTo>
                <a:lnTo>
                  <a:pt x="853" y="560"/>
                </a:lnTo>
                <a:lnTo>
                  <a:pt x="917" y="540"/>
                </a:lnTo>
                <a:lnTo>
                  <a:pt x="1002" y="505"/>
                </a:lnTo>
                <a:lnTo>
                  <a:pt x="1066" y="476"/>
                </a:lnTo>
                <a:lnTo>
                  <a:pt x="1132" y="441"/>
                </a:lnTo>
                <a:lnTo>
                  <a:pt x="1202" y="402"/>
                </a:lnTo>
                <a:lnTo>
                  <a:pt x="1237" y="377"/>
                </a:lnTo>
                <a:lnTo>
                  <a:pt x="1277" y="346"/>
                </a:lnTo>
                <a:lnTo>
                  <a:pt x="1310" y="317"/>
                </a:lnTo>
                <a:lnTo>
                  <a:pt x="1335" y="290"/>
                </a:lnTo>
                <a:lnTo>
                  <a:pt x="1360" y="268"/>
                </a:lnTo>
                <a:lnTo>
                  <a:pt x="1456" y="358"/>
                </a:lnTo>
                <a:lnTo>
                  <a:pt x="1456" y="306"/>
                </a:lnTo>
                <a:lnTo>
                  <a:pt x="1462" y="246"/>
                </a:lnTo>
                <a:lnTo>
                  <a:pt x="1472" y="185"/>
                </a:lnTo>
                <a:lnTo>
                  <a:pt x="1492" y="118"/>
                </a:lnTo>
                <a:lnTo>
                  <a:pt x="1511" y="64"/>
                </a:lnTo>
                <a:lnTo>
                  <a:pt x="1545" y="0"/>
                </a:lnTo>
                <a:lnTo>
                  <a:pt x="1472" y="26"/>
                </a:lnTo>
                <a:lnTo>
                  <a:pt x="1398" y="48"/>
                </a:lnTo>
                <a:lnTo>
                  <a:pt x="1315" y="65"/>
                </a:lnTo>
                <a:lnTo>
                  <a:pt x="1242" y="76"/>
                </a:lnTo>
                <a:lnTo>
                  <a:pt x="1200" y="80"/>
                </a:lnTo>
                <a:lnTo>
                  <a:pt x="1140" y="76"/>
                </a:lnTo>
                <a:lnTo>
                  <a:pt x="1240" y="167"/>
                </a:lnTo>
                <a:lnTo>
                  <a:pt x="1196" y="211"/>
                </a:lnTo>
                <a:lnTo>
                  <a:pt x="1146" y="249"/>
                </a:lnTo>
                <a:lnTo>
                  <a:pt x="1090" y="291"/>
                </a:lnTo>
                <a:lnTo>
                  <a:pt x="1023" y="331"/>
                </a:lnTo>
                <a:lnTo>
                  <a:pt x="950" y="372"/>
                </a:lnTo>
                <a:lnTo>
                  <a:pt x="882" y="406"/>
                </a:lnTo>
                <a:lnTo>
                  <a:pt x="784" y="450"/>
                </a:lnTo>
                <a:lnTo>
                  <a:pt x="698" y="481"/>
                </a:lnTo>
                <a:lnTo>
                  <a:pt x="620" y="510"/>
                </a:lnTo>
                <a:lnTo>
                  <a:pt x="533" y="536"/>
                </a:lnTo>
                <a:lnTo>
                  <a:pt x="455" y="557"/>
                </a:lnTo>
                <a:lnTo>
                  <a:pt x="398" y="569"/>
                </a:lnTo>
                <a:lnTo>
                  <a:pt x="278" y="586"/>
                </a:lnTo>
                <a:lnTo>
                  <a:pt x="244" y="590"/>
                </a:lnTo>
                <a:lnTo>
                  <a:pt x="209" y="592"/>
                </a:lnTo>
                <a:lnTo>
                  <a:pt x="178" y="594"/>
                </a:lnTo>
                <a:lnTo>
                  <a:pt x="147" y="594"/>
                </a:lnTo>
                <a:lnTo>
                  <a:pt x="114" y="596"/>
                </a:lnTo>
                <a:lnTo>
                  <a:pt x="76" y="597"/>
                </a:lnTo>
                <a:lnTo>
                  <a:pt x="41" y="597"/>
                </a:lnTo>
                <a:lnTo>
                  <a:pt x="0" y="594"/>
                </a:lnTo>
              </a:path>
            </a:pathLst>
          </a:custGeom>
          <a:solidFill>
            <a:schemeClr val="bg2"/>
          </a:solidFill>
          <a:ln w="19050" cap="rnd" cmpd="sng">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endParaRPr lang="en-US">
              <a:solidFill>
                <a:prstClr val="black"/>
              </a:solidFill>
              <a:latin typeface="BMWTypeRegular"/>
            </a:endParaRPr>
          </a:p>
        </p:txBody>
      </p:sp>
      <p:sp>
        <p:nvSpPr>
          <p:cNvPr id="226" name="Freeform 24"/>
          <p:cNvSpPr>
            <a:spLocks/>
          </p:cNvSpPr>
          <p:nvPr/>
        </p:nvSpPr>
        <p:spPr bwMode="auto">
          <a:xfrm rot="8097542" flipH="1">
            <a:off x="1662328" y="4279173"/>
            <a:ext cx="2290951" cy="459894"/>
          </a:xfrm>
          <a:custGeom>
            <a:avLst/>
            <a:gdLst/>
            <a:ahLst/>
            <a:cxnLst>
              <a:cxn ang="0">
                <a:pos x="0" y="594"/>
              </a:cxn>
              <a:cxn ang="0">
                <a:pos x="85" y="620"/>
              </a:cxn>
              <a:cxn ang="0">
                <a:pos x="119" y="627"/>
              </a:cxn>
              <a:cxn ang="0">
                <a:pos x="164" y="633"/>
              </a:cxn>
              <a:cxn ang="0">
                <a:pos x="223" y="638"/>
              </a:cxn>
              <a:cxn ang="0">
                <a:pos x="345" y="640"/>
              </a:cxn>
              <a:cxn ang="0">
                <a:pos x="408" y="639"/>
              </a:cxn>
              <a:cxn ang="0">
                <a:pos x="526" y="630"/>
              </a:cxn>
              <a:cxn ang="0">
                <a:pos x="607" y="618"/>
              </a:cxn>
              <a:cxn ang="0">
                <a:pos x="686" y="603"/>
              </a:cxn>
              <a:cxn ang="0">
                <a:pos x="770" y="584"/>
              </a:cxn>
              <a:cxn ang="0">
                <a:pos x="853" y="560"/>
              </a:cxn>
              <a:cxn ang="0">
                <a:pos x="917" y="540"/>
              </a:cxn>
              <a:cxn ang="0">
                <a:pos x="1002" y="505"/>
              </a:cxn>
              <a:cxn ang="0">
                <a:pos x="1066" y="476"/>
              </a:cxn>
              <a:cxn ang="0">
                <a:pos x="1132" y="441"/>
              </a:cxn>
              <a:cxn ang="0">
                <a:pos x="1202" y="402"/>
              </a:cxn>
              <a:cxn ang="0">
                <a:pos x="1237" y="377"/>
              </a:cxn>
              <a:cxn ang="0">
                <a:pos x="1277" y="346"/>
              </a:cxn>
              <a:cxn ang="0">
                <a:pos x="1310" y="317"/>
              </a:cxn>
              <a:cxn ang="0">
                <a:pos x="1335" y="290"/>
              </a:cxn>
              <a:cxn ang="0">
                <a:pos x="1360" y="268"/>
              </a:cxn>
              <a:cxn ang="0">
                <a:pos x="1456" y="358"/>
              </a:cxn>
              <a:cxn ang="0">
                <a:pos x="1456" y="306"/>
              </a:cxn>
              <a:cxn ang="0">
                <a:pos x="1462" y="246"/>
              </a:cxn>
              <a:cxn ang="0">
                <a:pos x="1472" y="185"/>
              </a:cxn>
              <a:cxn ang="0">
                <a:pos x="1492" y="118"/>
              </a:cxn>
              <a:cxn ang="0">
                <a:pos x="1511" y="64"/>
              </a:cxn>
              <a:cxn ang="0">
                <a:pos x="1545" y="0"/>
              </a:cxn>
              <a:cxn ang="0">
                <a:pos x="1472" y="26"/>
              </a:cxn>
              <a:cxn ang="0">
                <a:pos x="1398" y="48"/>
              </a:cxn>
              <a:cxn ang="0">
                <a:pos x="1315" y="65"/>
              </a:cxn>
              <a:cxn ang="0">
                <a:pos x="1242" y="76"/>
              </a:cxn>
              <a:cxn ang="0">
                <a:pos x="1200" y="80"/>
              </a:cxn>
              <a:cxn ang="0">
                <a:pos x="1140" y="76"/>
              </a:cxn>
              <a:cxn ang="0">
                <a:pos x="1240" y="167"/>
              </a:cxn>
              <a:cxn ang="0">
                <a:pos x="1196" y="211"/>
              </a:cxn>
              <a:cxn ang="0">
                <a:pos x="1146" y="249"/>
              </a:cxn>
              <a:cxn ang="0">
                <a:pos x="1090" y="291"/>
              </a:cxn>
              <a:cxn ang="0">
                <a:pos x="1023" y="331"/>
              </a:cxn>
              <a:cxn ang="0">
                <a:pos x="950" y="372"/>
              </a:cxn>
              <a:cxn ang="0">
                <a:pos x="882" y="406"/>
              </a:cxn>
              <a:cxn ang="0">
                <a:pos x="784" y="450"/>
              </a:cxn>
              <a:cxn ang="0">
                <a:pos x="698" y="481"/>
              </a:cxn>
              <a:cxn ang="0">
                <a:pos x="620" y="510"/>
              </a:cxn>
              <a:cxn ang="0">
                <a:pos x="533" y="536"/>
              </a:cxn>
              <a:cxn ang="0">
                <a:pos x="455" y="557"/>
              </a:cxn>
              <a:cxn ang="0">
                <a:pos x="398" y="569"/>
              </a:cxn>
              <a:cxn ang="0">
                <a:pos x="278" y="586"/>
              </a:cxn>
              <a:cxn ang="0">
                <a:pos x="244" y="590"/>
              </a:cxn>
              <a:cxn ang="0">
                <a:pos x="209" y="592"/>
              </a:cxn>
              <a:cxn ang="0">
                <a:pos x="178" y="594"/>
              </a:cxn>
              <a:cxn ang="0">
                <a:pos x="147" y="594"/>
              </a:cxn>
              <a:cxn ang="0">
                <a:pos x="114" y="596"/>
              </a:cxn>
              <a:cxn ang="0">
                <a:pos x="76" y="597"/>
              </a:cxn>
              <a:cxn ang="0">
                <a:pos x="41" y="597"/>
              </a:cxn>
              <a:cxn ang="0">
                <a:pos x="0" y="594"/>
              </a:cxn>
            </a:cxnLst>
            <a:rect l="0" t="0" r="r" b="b"/>
            <a:pathLst>
              <a:path w="1545" h="640">
                <a:moveTo>
                  <a:pt x="0" y="594"/>
                </a:moveTo>
                <a:lnTo>
                  <a:pt x="85" y="620"/>
                </a:lnTo>
                <a:lnTo>
                  <a:pt x="119" y="627"/>
                </a:lnTo>
                <a:lnTo>
                  <a:pt x="164" y="633"/>
                </a:lnTo>
                <a:lnTo>
                  <a:pt x="223" y="638"/>
                </a:lnTo>
                <a:lnTo>
                  <a:pt x="345" y="640"/>
                </a:lnTo>
                <a:lnTo>
                  <a:pt x="408" y="639"/>
                </a:lnTo>
                <a:lnTo>
                  <a:pt x="526" y="630"/>
                </a:lnTo>
                <a:lnTo>
                  <a:pt x="607" y="618"/>
                </a:lnTo>
                <a:lnTo>
                  <a:pt x="686" y="603"/>
                </a:lnTo>
                <a:lnTo>
                  <a:pt x="770" y="584"/>
                </a:lnTo>
                <a:lnTo>
                  <a:pt x="853" y="560"/>
                </a:lnTo>
                <a:lnTo>
                  <a:pt x="917" y="540"/>
                </a:lnTo>
                <a:lnTo>
                  <a:pt x="1002" y="505"/>
                </a:lnTo>
                <a:lnTo>
                  <a:pt x="1066" y="476"/>
                </a:lnTo>
                <a:lnTo>
                  <a:pt x="1132" y="441"/>
                </a:lnTo>
                <a:lnTo>
                  <a:pt x="1202" y="402"/>
                </a:lnTo>
                <a:lnTo>
                  <a:pt x="1237" y="377"/>
                </a:lnTo>
                <a:lnTo>
                  <a:pt x="1277" y="346"/>
                </a:lnTo>
                <a:lnTo>
                  <a:pt x="1310" y="317"/>
                </a:lnTo>
                <a:lnTo>
                  <a:pt x="1335" y="290"/>
                </a:lnTo>
                <a:lnTo>
                  <a:pt x="1360" y="268"/>
                </a:lnTo>
                <a:lnTo>
                  <a:pt x="1456" y="358"/>
                </a:lnTo>
                <a:lnTo>
                  <a:pt x="1456" y="306"/>
                </a:lnTo>
                <a:lnTo>
                  <a:pt x="1462" y="246"/>
                </a:lnTo>
                <a:lnTo>
                  <a:pt x="1472" y="185"/>
                </a:lnTo>
                <a:lnTo>
                  <a:pt x="1492" y="118"/>
                </a:lnTo>
                <a:lnTo>
                  <a:pt x="1511" y="64"/>
                </a:lnTo>
                <a:lnTo>
                  <a:pt x="1545" y="0"/>
                </a:lnTo>
                <a:lnTo>
                  <a:pt x="1472" y="26"/>
                </a:lnTo>
                <a:lnTo>
                  <a:pt x="1398" y="48"/>
                </a:lnTo>
                <a:lnTo>
                  <a:pt x="1315" y="65"/>
                </a:lnTo>
                <a:lnTo>
                  <a:pt x="1242" y="76"/>
                </a:lnTo>
                <a:lnTo>
                  <a:pt x="1200" y="80"/>
                </a:lnTo>
                <a:lnTo>
                  <a:pt x="1140" y="76"/>
                </a:lnTo>
                <a:lnTo>
                  <a:pt x="1240" y="167"/>
                </a:lnTo>
                <a:lnTo>
                  <a:pt x="1196" y="211"/>
                </a:lnTo>
                <a:lnTo>
                  <a:pt x="1146" y="249"/>
                </a:lnTo>
                <a:lnTo>
                  <a:pt x="1090" y="291"/>
                </a:lnTo>
                <a:lnTo>
                  <a:pt x="1023" y="331"/>
                </a:lnTo>
                <a:lnTo>
                  <a:pt x="950" y="372"/>
                </a:lnTo>
                <a:lnTo>
                  <a:pt x="882" y="406"/>
                </a:lnTo>
                <a:lnTo>
                  <a:pt x="784" y="450"/>
                </a:lnTo>
                <a:lnTo>
                  <a:pt x="698" y="481"/>
                </a:lnTo>
                <a:lnTo>
                  <a:pt x="620" y="510"/>
                </a:lnTo>
                <a:lnTo>
                  <a:pt x="533" y="536"/>
                </a:lnTo>
                <a:lnTo>
                  <a:pt x="455" y="557"/>
                </a:lnTo>
                <a:lnTo>
                  <a:pt x="398" y="569"/>
                </a:lnTo>
                <a:lnTo>
                  <a:pt x="278" y="586"/>
                </a:lnTo>
                <a:lnTo>
                  <a:pt x="244" y="590"/>
                </a:lnTo>
                <a:lnTo>
                  <a:pt x="209" y="592"/>
                </a:lnTo>
                <a:lnTo>
                  <a:pt x="178" y="594"/>
                </a:lnTo>
                <a:lnTo>
                  <a:pt x="147" y="594"/>
                </a:lnTo>
                <a:lnTo>
                  <a:pt x="114" y="596"/>
                </a:lnTo>
                <a:lnTo>
                  <a:pt x="76" y="597"/>
                </a:lnTo>
                <a:lnTo>
                  <a:pt x="41" y="597"/>
                </a:lnTo>
                <a:lnTo>
                  <a:pt x="0" y="594"/>
                </a:lnTo>
              </a:path>
            </a:pathLst>
          </a:custGeom>
          <a:solidFill>
            <a:schemeClr val="bg2"/>
          </a:solidFill>
          <a:ln w="19050" cap="rnd" cmpd="sng">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endParaRPr lang="en-US">
              <a:solidFill>
                <a:prstClr val="black"/>
              </a:solidFill>
              <a:latin typeface="BMWTypeRegular"/>
            </a:endParaRPr>
          </a:p>
        </p:txBody>
      </p:sp>
      <p:sp>
        <p:nvSpPr>
          <p:cNvPr id="227" name="Textfeld 226"/>
          <p:cNvSpPr txBox="1"/>
          <p:nvPr/>
        </p:nvSpPr>
        <p:spPr>
          <a:xfrm>
            <a:off x="4572000" y="2492896"/>
            <a:ext cx="643265" cy="338554"/>
          </a:xfrm>
          <a:prstGeom prst="rect">
            <a:avLst/>
          </a:prstGeom>
          <a:ln>
            <a:solidFill>
              <a:schemeClr val="bg2"/>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fontAlgn="base">
              <a:spcBef>
                <a:spcPct val="0"/>
              </a:spcBef>
              <a:spcAft>
                <a:spcPct val="0"/>
              </a:spcAft>
            </a:pPr>
            <a:r>
              <a:rPr lang="en-US" sz="800" b="1" dirty="0" smtClean="0">
                <a:solidFill>
                  <a:prstClr val="black"/>
                </a:solidFill>
              </a:rPr>
              <a:t>Ticket for Assembly</a:t>
            </a:r>
            <a:endParaRPr lang="en-US" sz="800" b="1" dirty="0">
              <a:solidFill>
                <a:prstClr val="black"/>
              </a:solidFill>
            </a:endParaRPr>
          </a:p>
        </p:txBody>
      </p:sp>
      <p:sp>
        <p:nvSpPr>
          <p:cNvPr id="228" name="Rechteck 227"/>
          <p:cNvSpPr/>
          <p:nvPr/>
        </p:nvSpPr>
        <p:spPr>
          <a:xfrm>
            <a:off x="7865318" y="2348880"/>
            <a:ext cx="792088" cy="504056"/>
          </a:xfrm>
          <a:prstGeom prst="rect">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prstClr val="white"/>
                </a:solidFill>
              </a:rPr>
              <a:t>Vehicle</a:t>
            </a:r>
          </a:p>
          <a:p>
            <a:pPr algn="ctr"/>
            <a:r>
              <a:rPr lang="en-US" sz="1200" dirty="0" smtClean="0">
                <a:solidFill>
                  <a:prstClr val="white"/>
                </a:solidFill>
              </a:rPr>
              <a:t>User</a:t>
            </a:r>
            <a:endParaRPr lang="en-US" sz="1200" dirty="0">
              <a:solidFill>
                <a:prstClr val="white"/>
              </a:solidFill>
            </a:endParaRPr>
          </a:p>
        </p:txBody>
      </p:sp>
      <p:sp>
        <p:nvSpPr>
          <p:cNvPr id="229" name="Rechteck 228"/>
          <p:cNvSpPr/>
          <p:nvPr/>
        </p:nvSpPr>
        <p:spPr>
          <a:xfrm>
            <a:off x="6228184" y="3121918"/>
            <a:ext cx="792088" cy="504056"/>
          </a:xfrm>
          <a:prstGeom prst="rect">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prstClr val="white"/>
                </a:solidFill>
              </a:rPr>
              <a:t>Plant</a:t>
            </a:r>
            <a:endParaRPr lang="en-US" sz="1200" dirty="0">
              <a:solidFill>
                <a:prstClr val="white"/>
              </a:solidFill>
            </a:endParaRPr>
          </a:p>
        </p:txBody>
      </p:sp>
      <p:sp>
        <p:nvSpPr>
          <p:cNvPr id="231" name="Rechteck 230"/>
          <p:cNvSpPr/>
          <p:nvPr/>
        </p:nvSpPr>
        <p:spPr>
          <a:xfrm>
            <a:off x="3832870" y="5157192"/>
            <a:ext cx="864096" cy="504056"/>
          </a:xfrm>
          <a:prstGeom prst="rect">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prstClr val="white"/>
                </a:solidFill>
              </a:rPr>
              <a:t>User Assembling</a:t>
            </a:r>
            <a:endParaRPr lang="en-US" sz="1200" dirty="0">
              <a:solidFill>
                <a:prstClr val="white"/>
              </a:solidFill>
            </a:endParaRPr>
          </a:p>
        </p:txBody>
      </p:sp>
      <p:sp>
        <p:nvSpPr>
          <p:cNvPr id="21" name="Abgerundetes Rechteck 20"/>
          <p:cNvSpPr/>
          <p:nvPr/>
        </p:nvSpPr>
        <p:spPr>
          <a:xfrm>
            <a:off x="107504" y="1916832"/>
            <a:ext cx="1656184" cy="1080120"/>
          </a:xfrm>
          <a:prstGeom prst="roundRect">
            <a:avLst/>
          </a:prstGeom>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vert="horz" wrap="none" lIns="0" tIns="0" rIns="0" bIns="0" rtlCol="0" anchor="ctr"/>
          <a:lstStyle/>
          <a:p>
            <a:pPr algn="ctr"/>
            <a:r>
              <a:rPr lang="en-US" sz="2000" b="1" dirty="0" smtClean="0">
                <a:solidFill>
                  <a:prstClr val="black"/>
                </a:solidFill>
              </a:rPr>
              <a:t>Complete </a:t>
            </a:r>
          </a:p>
          <a:p>
            <a:pPr algn="ctr"/>
            <a:r>
              <a:rPr lang="en-US" sz="2000" b="1" dirty="0" smtClean="0">
                <a:solidFill>
                  <a:prstClr val="black"/>
                </a:solidFill>
              </a:rPr>
              <a:t>Vehicle</a:t>
            </a:r>
          </a:p>
        </p:txBody>
      </p:sp>
      <p:sp>
        <p:nvSpPr>
          <p:cNvPr id="22" name="Abgerundetes Rechteck 21"/>
          <p:cNvSpPr/>
          <p:nvPr/>
        </p:nvSpPr>
        <p:spPr>
          <a:xfrm>
            <a:off x="107504" y="3501008"/>
            <a:ext cx="1656184" cy="1080120"/>
          </a:xfrm>
          <a:prstGeom prst="roundRect">
            <a:avLst/>
          </a:prstGeom>
          <a:ln/>
        </p:spPr>
        <p:style>
          <a:lnRef idx="2">
            <a:schemeClr val="dk1"/>
          </a:lnRef>
          <a:fillRef idx="1">
            <a:schemeClr val="lt1"/>
          </a:fillRef>
          <a:effectRef idx="0">
            <a:schemeClr val="dk1"/>
          </a:effectRef>
          <a:fontRef idx="minor">
            <a:schemeClr val="dk1"/>
          </a:fontRef>
        </p:style>
        <p:txBody>
          <a:bodyPr vert="horz" wrap="none" lIns="0" tIns="0" rIns="0" bIns="0" rtlCol="0" anchor="ctr"/>
          <a:lstStyle/>
          <a:p>
            <a:pPr algn="ctr"/>
            <a:r>
              <a:rPr lang="en-US" sz="2000" b="1" dirty="0" smtClean="0">
                <a:solidFill>
                  <a:prstClr val="black"/>
                </a:solidFill>
              </a:rPr>
              <a:t>Subsystem</a:t>
            </a:r>
          </a:p>
        </p:txBody>
      </p:sp>
      <p:grpSp>
        <p:nvGrpSpPr>
          <p:cNvPr id="2" name="Gruppieren 33"/>
          <p:cNvGrpSpPr/>
          <p:nvPr/>
        </p:nvGrpSpPr>
        <p:grpSpPr>
          <a:xfrm>
            <a:off x="575556" y="3068960"/>
            <a:ext cx="723622" cy="371165"/>
            <a:chOff x="575556" y="3068960"/>
            <a:chExt cx="723622" cy="371165"/>
          </a:xfrm>
        </p:grpSpPr>
        <p:pic>
          <p:nvPicPr>
            <p:cNvPr id="25" name="Picture 3" descr="C:\Users\Q155554\AppData\Local\Microsoft\Windows\Temporary Internet Files\Content.IE5\T3XD6DLA\MP900442432[1].jpg"/>
            <p:cNvPicPr>
              <a:picLocks noChangeAspect="1" noChangeArrowheads="1"/>
            </p:cNvPicPr>
            <p:nvPr/>
          </p:nvPicPr>
          <p:blipFill>
            <a:blip r:embed="rId5" cstate="print"/>
            <a:srcRect/>
            <a:stretch>
              <a:fillRect/>
            </a:stretch>
          </p:blipFill>
          <p:spPr bwMode="auto">
            <a:xfrm>
              <a:off x="575556" y="3068960"/>
              <a:ext cx="723622" cy="371165"/>
            </a:xfrm>
            <a:prstGeom prst="rect">
              <a:avLst/>
            </a:prstGeom>
            <a:noFill/>
          </p:spPr>
        </p:pic>
        <p:sp>
          <p:nvSpPr>
            <p:cNvPr id="27" name="Rechteck 26"/>
            <p:cNvSpPr/>
            <p:nvPr/>
          </p:nvSpPr>
          <p:spPr>
            <a:xfrm>
              <a:off x="575556" y="3068960"/>
              <a:ext cx="720080" cy="360040"/>
            </a:xfrm>
            <a:prstGeom prst="rect">
              <a:avLst/>
            </a:prstGeom>
            <a:solidFill>
              <a:schemeClr val="bg1">
                <a:alpha val="62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3" name="Gruppieren 32"/>
          <p:cNvGrpSpPr/>
          <p:nvPr/>
        </p:nvGrpSpPr>
        <p:grpSpPr>
          <a:xfrm>
            <a:off x="575556" y="4725144"/>
            <a:ext cx="723622" cy="371165"/>
            <a:chOff x="575556" y="4653136"/>
            <a:chExt cx="723622" cy="371165"/>
          </a:xfrm>
        </p:grpSpPr>
        <p:pic>
          <p:nvPicPr>
            <p:cNvPr id="26" name="Picture 3" descr="C:\Users\Q155554\AppData\Local\Microsoft\Windows\Temporary Internet Files\Content.IE5\T3XD6DLA\MP900442432[1].jpg"/>
            <p:cNvPicPr>
              <a:picLocks noChangeAspect="1" noChangeArrowheads="1"/>
            </p:cNvPicPr>
            <p:nvPr/>
          </p:nvPicPr>
          <p:blipFill>
            <a:blip r:embed="rId5" cstate="print"/>
            <a:srcRect/>
            <a:stretch>
              <a:fillRect/>
            </a:stretch>
          </p:blipFill>
          <p:spPr bwMode="auto">
            <a:xfrm>
              <a:off x="575556" y="4653136"/>
              <a:ext cx="723622" cy="371165"/>
            </a:xfrm>
            <a:prstGeom prst="rect">
              <a:avLst/>
            </a:prstGeom>
            <a:noFill/>
          </p:spPr>
        </p:pic>
        <p:sp>
          <p:nvSpPr>
            <p:cNvPr id="28" name="Rechteck 27"/>
            <p:cNvSpPr/>
            <p:nvPr/>
          </p:nvSpPr>
          <p:spPr>
            <a:xfrm>
              <a:off x="575556" y="4653136"/>
              <a:ext cx="720080" cy="360040"/>
            </a:xfrm>
            <a:prstGeom prst="rect">
              <a:avLst/>
            </a:prstGeom>
            <a:solidFill>
              <a:schemeClr val="bg1">
                <a:alpha val="62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89" name="Textfeld 188"/>
          <p:cNvSpPr txBox="1"/>
          <p:nvPr/>
        </p:nvSpPr>
        <p:spPr>
          <a:xfrm>
            <a:off x="2555776" y="4149080"/>
            <a:ext cx="643265" cy="338554"/>
          </a:xfrm>
          <a:prstGeom prst="rect">
            <a:avLst/>
          </a:prstGeom>
          <a:ln>
            <a:solidFill>
              <a:schemeClr val="bg2"/>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fontAlgn="base">
              <a:spcBef>
                <a:spcPct val="0"/>
              </a:spcBef>
              <a:spcAft>
                <a:spcPct val="0"/>
              </a:spcAft>
            </a:pPr>
            <a:r>
              <a:rPr lang="en-US" sz="800" b="1" dirty="0" smtClean="0">
                <a:solidFill>
                  <a:prstClr val="black"/>
                </a:solidFill>
              </a:rPr>
              <a:t>Ticket for Assembly</a:t>
            </a:r>
            <a:endParaRPr lang="en-US" sz="800" b="1" dirty="0">
              <a:solidFill>
                <a:prstClr val="black"/>
              </a:solidFill>
            </a:endParaRPr>
          </a:p>
        </p:txBody>
      </p:sp>
      <p:sp>
        <p:nvSpPr>
          <p:cNvPr id="101" name="Abgerundetes Rechteck 100"/>
          <p:cNvSpPr/>
          <p:nvPr/>
        </p:nvSpPr>
        <p:spPr>
          <a:xfrm>
            <a:off x="107504" y="5229200"/>
            <a:ext cx="1656184" cy="1080120"/>
          </a:xfrm>
          <a:prstGeom prst="roundRect">
            <a:avLst/>
          </a:prstGeom>
          <a:solidFill>
            <a:schemeClr val="bg2">
              <a:lumMod val="40000"/>
              <a:lumOff val="60000"/>
            </a:schemeClr>
          </a:solidFill>
          <a:ln>
            <a:solidFill>
              <a:schemeClr val="bg2"/>
            </a:solidFill>
          </a:ln>
        </p:spPr>
        <p:style>
          <a:lnRef idx="2">
            <a:schemeClr val="accent6"/>
          </a:lnRef>
          <a:fillRef idx="1">
            <a:schemeClr val="lt1"/>
          </a:fillRef>
          <a:effectRef idx="0">
            <a:schemeClr val="accent6"/>
          </a:effectRef>
          <a:fontRef idx="minor">
            <a:schemeClr val="dk1"/>
          </a:fontRef>
        </p:style>
        <p:txBody>
          <a:bodyPr vert="horz" wrap="none" lIns="0" tIns="0" rIns="0" bIns="0" rtlCol="0" anchor="ctr"/>
          <a:lstStyle/>
          <a:p>
            <a:pPr algn="ctr"/>
            <a:r>
              <a:rPr lang="en-US" sz="2000" b="1" dirty="0" smtClean="0">
                <a:solidFill>
                  <a:prstClr val="black"/>
                </a:solidFill>
              </a:rPr>
              <a:t>Component</a:t>
            </a:r>
          </a:p>
        </p:txBody>
      </p:sp>
      <p:sp>
        <p:nvSpPr>
          <p:cNvPr id="230" name="Rechteck 229"/>
          <p:cNvSpPr/>
          <p:nvPr/>
        </p:nvSpPr>
        <p:spPr>
          <a:xfrm>
            <a:off x="1691680" y="5617815"/>
            <a:ext cx="864096" cy="504056"/>
          </a:xfrm>
          <a:prstGeom prst="rect">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prstClr val="white"/>
                </a:solidFill>
              </a:rPr>
              <a:t>Producer of Component</a:t>
            </a:r>
            <a:endParaRPr lang="en-US" sz="1200" dirty="0">
              <a:solidFill>
                <a:prstClr val="white"/>
              </a:solidFill>
            </a:endParaRPr>
          </a:p>
        </p:txBody>
      </p:sp>
      <p:sp>
        <p:nvSpPr>
          <p:cNvPr id="35" name="Abgerundetes Rechteck 34"/>
          <p:cNvSpPr/>
          <p:nvPr/>
        </p:nvSpPr>
        <p:spPr>
          <a:xfrm>
            <a:off x="107504" y="1915227"/>
            <a:ext cx="1656184" cy="1080120"/>
          </a:xfrm>
          <a:prstGeom prst="roundRect">
            <a:avLst/>
          </a:prstGeom>
          <a:solidFill>
            <a:schemeClr val="bg1">
              <a:alpha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6" name="Abgerundetes Rechteck 35"/>
          <p:cNvSpPr/>
          <p:nvPr/>
        </p:nvSpPr>
        <p:spPr>
          <a:xfrm>
            <a:off x="107504" y="3501008"/>
            <a:ext cx="1656184" cy="1080120"/>
          </a:xfrm>
          <a:prstGeom prst="roundRect">
            <a:avLst/>
          </a:prstGeom>
          <a:solidFill>
            <a:schemeClr val="bg1">
              <a:alpha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S</a:t>
            </a:r>
            <a:endParaRPr lang="en-US" dirty="0">
              <a:solidFill>
                <a:prstClr val="white"/>
              </a:solidFill>
            </a:endParaRPr>
          </a:p>
        </p:txBody>
      </p:sp>
      <p:sp>
        <p:nvSpPr>
          <p:cNvPr id="31" name="Foliennummernplatzhalter 27"/>
          <p:cNvSpPr txBox="1">
            <a:spLocks/>
          </p:cNvSpPr>
          <p:nvPr/>
        </p:nvSpPr>
        <p:spPr>
          <a:xfrm>
            <a:off x="6553200" y="6528871"/>
            <a:ext cx="2124075" cy="329130"/>
          </a:xfrm>
          <a:prstGeom prst="rect">
            <a:avLst/>
          </a:prstGeom>
        </p:spPr>
        <p:txBody>
          <a:bodyPr vert="horz"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sz="900" smtClean="0"/>
              <a:t>Slide</a:t>
            </a:r>
            <a:r>
              <a:rPr kumimoji="0" lang="de-DE" sz="900" b="0" i="0" u="none" strike="noStrike" kern="1200" cap="none" spc="0" normalizeH="0" baseline="0" noProof="0" smtClean="0">
                <a:ln>
                  <a:noFill/>
                </a:ln>
                <a:solidFill>
                  <a:schemeClr val="tx1"/>
                </a:solidFill>
                <a:effectLst/>
                <a:uLnTx/>
                <a:uFillTx/>
                <a:latin typeface="+mn-lt"/>
                <a:ea typeface="+mn-ea"/>
                <a:cs typeface="+mn-cs"/>
              </a:rPr>
              <a:t> </a:t>
            </a:r>
            <a:fld id="{AA807A42-CF27-4B84-8583-18EBE418342E}" type="slidenum">
              <a:rPr kumimoji="0" lang="de-DE"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9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nvGraphicFramePr>
        <p:xfrm>
          <a:off x="1587" y="1588"/>
          <a:ext cx="1587" cy="1587"/>
        </p:xfrm>
        <a:graphic>
          <a:graphicData uri="http://schemas.openxmlformats.org/presentationml/2006/ole">
            <p:oleObj spid="_x0000_s167938" name="think-cell Folie" r:id="rId3" imgW="270" imgH="270" progId="TCLayout.ActiveDocument.1">
              <p:embed/>
            </p:oleObj>
          </a:graphicData>
        </a:graphic>
      </p:graphicFrame>
      <p:sp>
        <p:nvSpPr>
          <p:cNvPr id="20" name="Rechteck 19"/>
          <p:cNvSpPr/>
          <p:nvPr/>
        </p:nvSpPr>
        <p:spPr>
          <a:xfrm>
            <a:off x="468313" y="5404513"/>
            <a:ext cx="8208962" cy="1152000"/>
          </a:xfrm>
          <a:prstGeom prst="rect">
            <a:avLst/>
          </a:prstGeom>
          <a:solidFill>
            <a:schemeClr val="bg2">
              <a:lumMod val="20000"/>
              <a:lumOff val="80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hteck 17"/>
          <p:cNvSpPr/>
          <p:nvPr/>
        </p:nvSpPr>
        <p:spPr>
          <a:xfrm>
            <a:off x="468313" y="3578772"/>
            <a:ext cx="8208962" cy="1789634"/>
          </a:xfrm>
          <a:prstGeom prst="rect">
            <a:avLst/>
          </a:prstGeom>
          <a:solidFill>
            <a:schemeClr val="bg2">
              <a:lumMod val="20000"/>
              <a:lumOff val="80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hteck 15"/>
          <p:cNvSpPr/>
          <p:nvPr/>
        </p:nvSpPr>
        <p:spPr>
          <a:xfrm>
            <a:off x="475136" y="1686917"/>
            <a:ext cx="8202139" cy="1825035"/>
          </a:xfrm>
          <a:prstGeom prst="rect">
            <a:avLst/>
          </a:prstGeom>
          <a:solidFill>
            <a:schemeClr val="bg2">
              <a:lumMod val="20000"/>
              <a:lumOff val="80000"/>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ußzeilenplatzhalter 1"/>
          <p:cNvSpPr>
            <a:spLocks noGrp="1"/>
          </p:cNvSpPr>
          <p:nvPr>
            <p:ph type="ftr" sz="quarter" idx="10"/>
          </p:nvPr>
        </p:nvSpPr>
        <p:spPr/>
        <p:txBody>
          <a:bodyPr/>
          <a:lstStyle/>
          <a:p>
            <a:pPr algn="l"/>
            <a:r>
              <a:rPr lang="en-US" smtClean="0"/>
              <a:t>Maturity Level Management Total Vehicle, Communication, Version 4.2</a:t>
            </a:r>
            <a:endParaRPr lang="en-US"/>
          </a:p>
        </p:txBody>
      </p:sp>
      <p:sp>
        <p:nvSpPr>
          <p:cNvPr id="4" name="Textplatzhalter 3"/>
          <p:cNvSpPr>
            <a:spLocks noGrp="1"/>
          </p:cNvSpPr>
          <p:nvPr>
            <p:ph type="body" sz="quarter" idx="13"/>
          </p:nvPr>
        </p:nvSpPr>
        <p:spPr/>
        <p:txBody>
          <a:bodyPr/>
          <a:lstStyle/>
          <a:p>
            <a:r>
              <a:rPr lang="en-US" dirty="0" smtClean="0"/>
              <a:t>Adjustment of Maturity level within the scope of implementation Planning.</a:t>
            </a:r>
            <a:endParaRPr lang="en-US" dirty="0"/>
          </a:p>
        </p:txBody>
      </p:sp>
      <p:sp>
        <p:nvSpPr>
          <p:cNvPr id="6" name="Textfeld 5"/>
          <p:cNvSpPr txBox="1"/>
          <p:nvPr/>
        </p:nvSpPr>
        <p:spPr>
          <a:xfrm>
            <a:off x="468312" y="1620907"/>
            <a:ext cx="8208963" cy="412677"/>
          </a:xfrm>
          <a:prstGeom prst="rect">
            <a:avLst/>
          </a:prstGeom>
          <a:noFill/>
        </p:spPr>
        <p:txBody>
          <a:bodyPr wrap="square" lIns="0" rtlCol="0">
            <a:spAutoFit/>
          </a:bodyPr>
          <a:lstStyle/>
          <a:p>
            <a:pPr lvl="0" algn="ctr">
              <a:lnSpc>
                <a:spcPts val="2800"/>
              </a:lnSpc>
              <a:defRPr/>
            </a:pPr>
            <a:r>
              <a:rPr lang="en-US" b="1" smtClean="0"/>
              <a:t>Adjustment</a:t>
            </a:r>
          </a:p>
        </p:txBody>
      </p:sp>
      <p:sp>
        <p:nvSpPr>
          <p:cNvPr id="8" name="Rechteck 7"/>
          <p:cNvSpPr/>
          <p:nvPr/>
        </p:nvSpPr>
        <p:spPr>
          <a:xfrm>
            <a:off x="805218" y="1835222"/>
            <a:ext cx="1980000" cy="646331"/>
          </a:xfrm>
          <a:prstGeom prst="rect">
            <a:avLst/>
          </a:prstGeom>
          <a:solidFill>
            <a:schemeClr val="bg2">
              <a:lumMod val="75000"/>
            </a:schemeClr>
          </a:solid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wrap="square" rtlCol="0" anchor="ctr">
            <a:spAutoFit/>
          </a:bodyPr>
          <a:lstStyle/>
          <a:p>
            <a:pPr algn="ctr"/>
            <a:r>
              <a:rPr lang="en-US" dirty="0" smtClean="0">
                <a:solidFill>
                  <a:schemeClr val="bg1"/>
                </a:solidFill>
              </a:rPr>
              <a:t>Expectation</a:t>
            </a:r>
          </a:p>
          <a:p>
            <a:pPr algn="ctr"/>
            <a:r>
              <a:rPr lang="en-US" dirty="0" smtClean="0">
                <a:solidFill>
                  <a:schemeClr val="bg1"/>
                </a:solidFill>
              </a:rPr>
              <a:t>TARGET-level</a:t>
            </a:r>
            <a:endParaRPr lang="en-US" dirty="0">
              <a:solidFill>
                <a:schemeClr val="bg1"/>
              </a:solidFill>
            </a:endParaRPr>
          </a:p>
        </p:txBody>
      </p:sp>
      <p:sp>
        <p:nvSpPr>
          <p:cNvPr id="10" name="Rechteck 9"/>
          <p:cNvSpPr/>
          <p:nvPr/>
        </p:nvSpPr>
        <p:spPr>
          <a:xfrm>
            <a:off x="6413487" y="1835222"/>
            <a:ext cx="1980000" cy="646331"/>
          </a:xfrm>
          <a:prstGeom prst="rect">
            <a:avLst/>
          </a:prstGeom>
          <a:solidFill>
            <a:schemeClr val="bg2">
              <a:lumMod val="75000"/>
            </a:schemeClr>
          </a:solidFill>
          <a:ln>
            <a:noFill/>
          </a:ln>
          <a:effectLst>
            <a:outerShdw blurRad="50800" dist="38100" dir="2700000" algn="tl"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wrap="square" rtlCol="0" anchor="ctr">
            <a:spAutoFit/>
          </a:bodyPr>
          <a:lstStyle/>
          <a:p>
            <a:pPr algn="ctr"/>
            <a:r>
              <a:rPr lang="en-US" dirty="0" smtClean="0">
                <a:solidFill>
                  <a:schemeClr val="bg1"/>
                </a:solidFill>
              </a:rPr>
              <a:t>Confirmation</a:t>
            </a:r>
          </a:p>
          <a:p>
            <a:pPr algn="ctr"/>
            <a:r>
              <a:rPr lang="en-US" dirty="0" smtClean="0">
                <a:solidFill>
                  <a:schemeClr val="bg1"/>
                </a:solidFill>
              </a:rPr>
              <a:t>TARGET-level</a:t>
            </a:r>
          </a:p>
        </p:txBody>
      </p:sp>
      <p:sp>
        <p:nvSpPr>
          <p:cNvPr id="11" name="Textfeld 10"/>
          <p:cNvSpPr txBox="1"/>
          <p:nvPr/>
        </p:nvSpPr>
        <p:spPr>
          <a:xfrm>
            <a:off x="1041708" y="3819994"/>
            <a:ext cx="1998000" cy="1169551"/>
          </a:xfrm>
          <a:prstGeom prst="rect">
            <a:avLst/>
          </a:prstGeom>
          <a:noFill/>
        </p:spPr>
        <p:txBody>
          <a:bodyPr wrap="square" rtlCol="0">
            <a:spAutoFit/>
          </a:bodyPr>
          <a:lstStyle/>
          <a:p>
            <a:r>
              <a:rPr lang="en-US" sz="1400" b="1" dirty="0" smtClean="0">
                <a:latin typeface="+mn-lt"/>
              </a:rPr>
              <a:t>Expectation: </a:t>
            </a:r>
          </a:p>
          <a:p>
            <a:pPr marL="171450" indent="-171450">
              <a:buFont typeface="Arial" pitchFamily="34" charset="0"/>
              <a:buChar char="•"/>
            </a:pPr>
            <a:r>
              <a:rPr lang="en-US" sz="1400" dirty="0" smtClean="0">
                <a:latin typeface="+mn-lt"/>
              </a:rPr>
              <a:t>Maturity level </a:t>
            </a:r>
          </a:p>
          <a:p>
            <a:pPr marL="171450" indent="-171450">
              <a:buFont typeface="Arial" pitchFamily="34" charset="0"/>
              <a:buChar char="•"/>
            </a:pPr>
            <a:r>
              <a:rPr lang="en-US" sz="1400" dirty="0" smtClean="0"/>
              <a:t>Features</a:t>
            </a:r>
            <a:r>
              <a:rPr lang="en-US" sz="1400" dirty="0" smtClean="0">
                <a:latin typeface="+mn-lt"/>
              </a:rPr>
              <a:t>/</a:t>
            </a:r>
            <a:br>
              <a:rPr lang="en-US" sz="1400" dirty="0" smtClean="0">
                <a:latin typeface="+mn-lt"/>
              </a:rPr>
            </a:br>
            <a:r>
              <a:rPr lang="en-US" sz="1400" dirty="0" smtClean="0">
                <a:latin typeface="+mn-lt"/>
              </a:rPr>
              <a:t>functions</a:t>
            </a:r>
            <a:br>
              <a:rPr lang="en-US" sz="1400" dirty="0" smtClean="0">
                <a:latin typeface="+mn-lt"/>
              </a:rPr>
            </a:br>
            <a:r>
              <a:rPr lang="en-US" sz="1400" dirty="0" smtClean="0"/>
              <a:t>(time appropriate) </a:t>
            </a:r>
            <a:endParaRPr lang="en-US" sz="1400" dirty="0" smtClean="0">
              <a:latin typeface="+mn-lt"/>
            </a:endParaRPr>
          </a:p>
        </p:txBody>
      </p:sp>
      <p:sp>
        <p:nvSpPr>
          <p:cNvPr id="12" name="Textfeld 11"/>
          <p:cNvSpPr txBox="1"/>
          <p:nvPr/>
        </p:nvSpPr>
        <p:spPr>
          <a:xfrm>
            <a:off x="6602679" y="3819994"/>
            <a:ext cx="1998000" cy="1384995"/>
          </a:xfrm>
          <a:prstGeom prst="rect">
            <a:avLst/>
          </a:prstGeom>
          <a:noFill/>
        </p:spPr>
        <p:txBody>
          <a:bodyPr wrap="square" rtlCol="0">
            <a:spAutoFit/>
          </a:bodyPr>
          <a:lstStyle/>
          <a:p>
            <a:r>
              <a:rPr lang="en-US" sz="1400" b="1" dirty="0" smtClean="0"/>
              <a:t>Confirmation:</a:t>
            </a:r>
          </a:p>
          <a:p>
            <a:pPr marL="171450" indent="-171450">
              <a:buFont typeface="Arial" pitchFamily="34" charset="0"/>
              <a:buChar char="•"/>
            </a:pPr>
            <a:r>
              <a:rPr lang="en-US" sz="1400" dirty="0" smtClean="0"/>
              <a:t>Maturity level (achievable)</a:t>
            </a:r>
          </a:p>
          <a:p>
            <a:pPr marL="171450" indent="-171450">
              <a:buFont typeface="Arial" pitchFamily="34" charset="0"/>
              <a:buChar char="•"/>
            </a:pPr>
            <a:r>
              <a:rPr lang="en-US" sz="1400" dirty="0" smtClean="0"/>
              <a:t>Features/</a:t>
            </a:r>
            <a:br>
              <a:rPr lang="en-US" sz="1400" dirty="0" smtClean="0"/>
            </a:br>
            <a:r>
              <a:rPr lang="en-US" sz="1400" dirty="0" smtClean="0"/>
              <a:t>functions</a:t>
            </a:r>
            <a:br>
              <a:rPr lang="en-US" sz="1400" dirty="0" smtClean="0"/>
            </a:br>
            <a:r>
              <a:rPr lang="en-US" sz="1400" dirty="0" smtClean="0"/>
              <a:t>(achievable)</a:t>
            </a:r>
            <a:endParaRPr lang="en-US" sz="1400" dirty="0"/>
          </a:p>
        </p:txBody>
      </p:sp>
      <p:pic>
        <p:nvPicPr>
          <p:cNvPr id="21507" name="Picture 3" descr="P:\EL-S-data\11_Komm\01_akt_MA\Tullio\Templates Präsentationen\Bilder\A0064534.JPG"/>
          <p:cNvPicPr>
            <a:picLocks noChangeAspect="1" noChangeArrowheads="1"/>
          </p:cNvPicPr>
          <p:nvPr/>
        </p:nvPicPr>
        <p:blipFill>
          <a:blip r:embed="rId4" cstate="print"/>
          <a:srcRect/>
          <a:stretch>
            <a:fillRect/>
          </a:stretch>
        </p:blipFill>
        <p:spPr bwMode="auto">
          <a:xfrm>
            <a:off x="3518003" y="2040180"/>
            <a:ext cx="2114343" cy="1405548"/>
          </a:xfrm>
          <a:prstGeom prst="rect">
            <a:avLst/>
          </a:prstGeom>
          <a:noFill/>
        </p:spPr>
      </p:pic>
      <p:sp>
        <p:nvSpPr>
          <p:cNvPr id="19" name="Textfeld 18"/>
          <p:cNvSpPr txBox="1"/>
          <p:nvPr/>
        </p:nvSpPr>
        <p:spPr>
          <a:xfrm>
            <a:off x="468313" y="3515007"/>
            <a:ext cx="8208962" cy="412677"/>
          </a:xfrm>
          <a:prstGeom prst="rect">
            <a:avLst/>
          </a:prstGeom>
          <a:noFill/>
        </p:spPr>
        <p:txBody>
          <a:bodyPr wrap="square" lIns="0" rtlCol="0">
            <a:spAutoFit/>
          </a:bodyPr>
          <a:lstStyle/>
          <a:p>
            <a:pPr lvl="0" algn="ctr">
              <a:lnSpc>
                <a:spcPts val="2800"/>
              </a:lnSpc>
              <a:defRPr/>
            </a:pPr>
            <a:r>
              <a:rPr lang="en-US" b="1" smtClean="0"/>
              <a:t>Handshake</a:t>
            </a:r>
          </a:p>
        </p:txBody>
      </p:sp>
      <p:sp>
        <p:nvSpPr>
          <p:cNvPr id="26" name="Freeform 24"/>
          <p:cNvSpPr>
            <a:spLocks/>
          </p:cNvSpPr>
          <p:nvPr/>
        </p:nvSpPr>
        <p:spPr bwMode="auto">
          <a:xfrm rot="7021451" flipV="1">
            <a:off x="5841803" y="2601445"/>
            <a:ext cx="1293267" cy="856504"/>
          </a:xfrm>
          <a:custGeom>
            <a:avLst/>
            <a:gdLst/>
            <a:ahLst/>
            <a:cxnLst>
              <a:cxn ang="0">
                <a:pos x="0" y="594"/>
              </a:cxn>
              <a:cxn ang="0">
                <a:pos x="85" y="620"/>
              </a:cxn>
              <a:cxn ang="0">
                <a:pos x="119" y="627"/>
              </a:cxn>
              <a:cxn ang="0">
                <a:pos x="164" y="633"/>
              </a:cxn>
              <a:cxn ang="0">
                <a:pos x="223" y="638"/>
              </a:cxn>
              <a:cxn ang="0">
                <a:pos x="345" y="640"/>
              </a:cxn>
              <a:cxn ang="0">
                <a:pos x="408" y="639"/>
              </a:cxn>
              <a:cxn ang="0">
                <a:pos x="526" y="630"/>
              </a:cxn>
              <a:cxn ang="0">
                <a:pos x="607" y="618"/>
              </a:cxn>
              <a:cxn ang="0">
                <a:pos x="686" y="603"/>
              </a:cxn>
              <a:cxn ang="0">
                <a:pos x="770" y="584"/>
              </a:cxn>
              <a:cxn ang="0">
                <a:pos x="853" y="560"/>
              </a:cxn>
              <a:cxn ang="0">
                <a:pos x="917" y="540"/>
              </a:cxn>
              <a:cxn ang="0">
                <a:pos x="1002" y="505"/>
              </a:cxn>
              <a:cxn ang="0">
                <a:pos x="1066" y="476"/>
              </a:cxn>
              <a:cxn ang="0">
                <a:pos x="1132" y="441"/>
              </a:cxn>
              <a:cxn ang="0">
                <a:pos x="1202" y="402"/>
              </a:cxn>
              <a:cxn ang="0">
                <a:pos x="1237" y="377"/>
              </a:cxn>
              <a:cxn ang="0">
                <a:pos x="1277" y="346"/>
              </a:cxn>
              <a:cxn ang="0">
                <a:pos x="1310" y="317"/>
              </a:cxn>
              <a:cxn ang="0">
                <a:pos x="1335" y="290"/>
              </a:cxn>
              <a:cxn ang="0">
                <a:pos x="1360" y="268"/>
              </a:cxn>
              <a:cxn ang="0">
                <a:pos x="1456" y="358"/>
              </a:cxn>
              <a:cxn ang="0">
                <a:pos x="1456" y="306"/>
              </a:cxn>
              <a:cxn ang="0">
                <a:pos x="1462" y="246"/>
              </a:cxn>
              <a:cxn ang="0">
                <a:pos x="1472" y="185"/>
              </a:cxn>
              <a:cxn ang="0">
                <a:pos x="1492" y="118"/>
              </a:cxn>
              <a:cxn ang="0">
                <a:pos x="1511" y="64"/>
              </a:cxn>
              <a:cxn ang="0">
                <a:pos x="1545" y="0"/>
              </a:cxn>
              <a:cxn ang="0">
                <a:pos x="1472" y="26"/>
              </a:cxn>
              <a:cxn ang="0">
                <a:pos x="1398" y="48"/>
              </a:cxn>
              <a:cxn ang="0">
                <a:pos x="1315" y="65"/>
              </a:cxn>
              <a:cxn ang="0">
                <a:pos x="1242" y="76"/>
              </a:cxn>
              <a:cxn ang="0">
                <a:pos x="1200" y="80"/>
              </a:cxn>
              <a:cxn ang="0">
                <a:pos x="1140" y="76"/>
              </a:cxn>
              <a:cxn ang="0">
                <a:pos x="1240" y="167"/>
              </a:cxn>
              <a:cxn ang="0">
                <a:pos x="1196" y="211"/>
              </a:cxn>
              <a:cxn ang="0">
                <a:pos x="1146" y="249"/>
              </a:cxn>
              <a:cxn ang="0">
                <a:pos x="1090" y="291"/>
              </a:cxn>
              <a:cxn ang="0">
                <a:pos x="1023" y="331"/>
              </a:cxn>
              <a:cxn ang="0">
                <a:pos x="950" y="372"/>
              </a:cxn>
              <a:cxn ang="0">
                <a:pos x="882" y="406"/>
              </a:cxn>
              <a:cxn ang="0">
                <a:pos x="784" y="450"/>
              </a:cxn>
              <a:cxn ang="0">
                <a:pos x="698" y="481"/>
              </a:cxn>
              <a:cxn ang="0">
                <a:pos x="620" y="510"/>
              </a:cxn>
              <a:cxn ang="0">
                <a:pos x="533" y="536"/>
              </a:cxn>
              <a:cxn ang="0">
                <a:pos x="455" y="557"/>
              </a:cxn>
              <a:cxn ang="0">
                <a:pos x="398" y="569"/>
              </a:cxn>
              <a:cxn ang="0">
                <a:pos x="278" y="586"/>
              </a:cxn>
              <a:cxn ang="0">
                <a:pos x="244" y="590"/>
              </a:cxn>
              <a:cxn ang="0">
                <a:pos x="209" y="592"/>
              </a:cxn>
              <a:cxn ang="0">
                <a:pos x="178" y="594"/>
              </a:cxn>
              <a:cxn ang="0">
                <a:pos x="147" y="594"/>
              </a:cxn>
              <a:cxn ang="0">
                <a:pos x="114" y="596"/>
              </a:cxn>
              <a:cxn ang="0">
                <a:pos x="76" y="597"/>
              </a:cxn>
              <a:cxn ang="0">
                <a:pos x="41" y="597"/>
              </a:cxn>
              <a:cxn ang="0">
                <a:pos x="0" y="594"/>
              </a:cxn>
            </a:cxnLst>
            <a:rect l="0" t="0" r="r" b="b"/>
            <a:pathLst>
              <a:path w="1545" h="640">
                <a:moveTo>
                  <a:pt x="0" y="594"/>
                </a:moveTo>
                <a:lnTo>
                  <a:pt x="85" y="620"/>
                </a:lnTo>
                <a:lnTo>
                  <a:pt x="119" y="627"/>
                </a:lnTo>
                <a:lnTo>
                  <a:pt x="164" y="633"/>
                </a:lnTo>
                <a:lnTo>
                  <a:pt x="223" y="638"/>
                </a:lnTo>
                <a:lnTo>
                  <a:pt x="345" y="640"/>
                </a:lnTo>
                <a:lnTo>
                  <a:pt x="408" y="639"/>
                </a:lnTo>
                <a:lnTo>
                  <a:pt x="526" y="630"/>
                </a:lnTo>
                <a:lnTo>
                  <a:pt x="607" y="618"/>
                </a:lnTo>
                <a:lnTo>
                  <a:pt x="686" y="603"/>
                </a:lnTo>
                <a:lnTo>
                  <a:pt x="770" y="584"/>
                </a:lnTo>
                <a:lnTo>
                  <a:pt x="853" y="560"/>
                </a:lnTo>
                <a:lnTo>
                  <a:pt x="917" y="540"/>
                </a:lnTo>
                <a:lnTo>
                  <a:pt x="1002" y="505"/>
                </a:lnTo>
                <a:lnTo>
                  <a:pt x="1066" y="476"/>
                </a:lnTo>
                <a:lnTo>
                  <a:pt x="1132" y="441"/>
                </a:lnTo>
                <a:lnTo>
                  <a:pt x="1202" y="402"/>
                </a:lnTo>
                <a:lnTo>
                  <a:pt x="1237" y="377"/>
                </a:lnTo>
                <a:lnTo>
                  <a:pt x="1277" y="346"/>
                </a:lnTo>
                <a:lnTo>
                  <a:pt x="1310" y="317"/>
                </a:lnTo>
                <a:lnTo>
                  <a:pt x="1335" y="290"/>
                </a:lnTo>
                <a:lnTo>
                  <a:pt x="1360" y="268"/>
                </a:lnTo>
                <a:lnTo>
                  <a:pt x="1456" y="358"/>
                </a:lnTo>
                <a:lnTo>
                  <a:pt x="1456" y="306"/>
                </a:lnTo>
                <a:lnTo>
                  <a:pt x="1462" y="246"/>
                </a:lnTo>
                <a:lnTo>
                  <a:pt x="1472" y="185"/>
                </a:lnTo>
                <a:lnTo>
                  <a:pt x="1492" y="118"/>
                </a:lnTo>
                <a:lnTo>
                  <a:pt x="1511" y="64"/>
                </a:lnTo>
                <a:lnTo>
                  <a:pt x="1545" y="0"/>
                </a:lnTo>
                <a:lnTo>
                  <a:pt x="1472" y="26"/>
                </a:lnTo>
                <a:lnTo>
                  <a:pt x="1398" y="48"/>
                </a:lnTo>
                <a:lnTo>
                  <a:pt x="1315" y="65"/>
                </a:lnTo>
                <a:lnTo>
                  <a:pt x="1242" y="76"/>
                </a:lnTo>
                <a:lnTo>
                  <a:pt x="1200" y="80"/>
                </a:lnTo>
                <a:lnTo>
                  <a:pt x="1140" y="76"/>
                </a:lnTo>
                <a:lnTo>
                  <a:pt x="1240" y="167"/>
                </a:lnTo>
                <a:lnTo>
                  <a:pt x="1196" y="211"/>
                </a:lnTo>
                <a:lnTo>
                  <a:pt x="1146" y="249"/>
                </a:lnTo>
                <a:lnTo>
                  <a:pt x="1090" y="291"/>
                </a:lnTo>
                <a:lnTo>
                  <a:pt x="1023" y="331"/>
                </a:lnTo>
                <a:lnTo>
                  <a:pt x="950" y="372"/>
                </a:lnTo>
                <a:lnTo>
                  <a:pt x="882" y="406"/>
                </a:lnTo>
                <a:lnTo>
                  <a:pt x="784" y="450"/>
                </a:lnTo>
                <a:lnTo>
                  <a:pt x="698" y="481"/>
                </a:lnTo>
                <a:lnTo>
                  <a:pt x="620" y="510"/>
                </a:lnTo>
                <a:lnTo>
                  <a:pt x="533" y="536"/>
                </a:lnTo>
                <a:lnTo>
                  <a:pt x="455" y="557"/>
                </a:lnTo>
                <a:lnTo>
                  <a:pt x="398" y="569"/>
                </a:lnTo>
                <a:lnTo>
                  <a:pt x="278" y="586"/>
                </a:lnTo>
                <a:lnTo>
                  <a:pt x="244" y="590"/>
                </a:lnTo>
                <a:lnTo>
                  <a:pt x="209" y="592"/>
                </a:lnTo>
                <a:lnTo>
                  <a:pt x="178" y="594"/>
                </a:lnTo>
                <a:lnTo>
                  <a:pt x="147" y="594"/>
                </a:lnTo>
                <a:lnTo>
                  <a:pt x="114" y="596"/>
                </a:lnTo>
                <a:lnTo>
                  <a:pt x="76" y="597"/>
                </a:lnTo>
                <a:lnTo>
                  <a:pt x="41" y="597"/>
                </a:lnTo>
                <a:lnTo>
                  <a:pt x="0" y="594"/>
                </a:lnTo>
              </a:path>
            </a:pathLst>
          </a:custGeom>
          <a:solidFill>
            <a:schemeClr val="bg2"/>
          </a:solidFill>
          <a:ln w="19050" cap="rnd" cmpd="sng">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endParaRPr lang="en-US">
              <a:latin typeface="BMWTypeRegular"/>
            </a:endParaRPr>
          </a:p>
        </p:txBody>
      </p:sp>
      <p:sp>
        <p:nvSpPr>
          <p:cNvPr id="27" name="Freeform 24"/>
          <p:cNvSpPr>
            <a:spLocks/>
          </p:cNvSpPr>
          <p:nvPr/>
        </p:nvSpPr>
        <p:spPr bwMode="auto">
          <a:xfrm rot="14578549" flipH="1" flipV="1">
            <a:off x="1952190" y="2601445"/>
            <a:ext cx="1293267" cy="856504"/>
          </a:xfrm>
          <a:custGeom>
            <a:avLst/>
            <a:gdLst/>
            <a:ahLst/>
            <a:cxnLst>
              <a:cxn ang="0">
                <a:pos x="0" y="594"/>
              </a:cxn>
              <a:cxn ang="0">
                <a:pos x="85" y="620"/>
              </a:cxn>
              <a:cxn ang="0">
                <a:pos x="119" y="627"/>
              </a:cxn>
              <a:cxn ang="0">
                <a:pos x="164" y="633"/>
              </a:cxn>
              <a:cxn ang="0">
                <a:pos x="223" y="638"/>
              </a:cxn>
              <a:cxn ang="0">
                <a:pos x="345" y="640"/>
              </a:cxn>
              <a:cxn ang="0">
                <a:pos x="408" y="639"/>
              </a:cxn>
              <a:cxn ang="0">
                <a:pos x="526" y="630"/>
              </a:cxn>
              <a:cxn ang="0">
                <a:pos x="607" y="618"/>
              </a:cxn>
              <a:cxn ang="0">
                <a:pos x="686" y="603"/>
              </a:cxn>
              <a:cxn ang="0">
                <a:pos x="770" y="584"/>
              </a:cxn>
              <a:cxn ang="0">
                <a:pos x="853" y="560"/>
              </a:cxn>
              <a:cxn ang="0">
                <a:pos x="917" y="540"/>
              </a:cxn>
              <a:cxn ang="0">
                <a:pos x="1002" y="505"/>
              </a:cxn>
              <a:cxn ang="0">
                <a:pos x="1066" y="476"/>
              </a:cxn>
              <a:cxn ang="0">
                <a:pos x="1132" y="441"/>
              </a:cxn>
              <a:cxn ang="0">
                <a:pos x="1202" y="402"/>
              </a:cxn>
              <a:cxn ang="0">
                <a:pos x="1237" y="377"/>
              </a:cxn>
              <a:cxn ang="0">
                <a:pos x="1277" y="346"/>
              </a:cxn>
              <a:cxn ang="0">
                <a:pos x="1310" y="317"/>
              </a:cxn>
              <a:cxn ang="0">
                <a:pos x="1335" y="290"/>
              </a:cxn>
              <a:cxn ang="0">
                <a:pos x="1360" y="268"/>
              </a:cxn>
              <a:cxn ang="0">
                <a:pos x="1456" y="358"/>
              </a:cxn>
              <a:cxn ang="0">
                <a:pos x="1456" y="306"/>
              </a:cxn>
              <a:cxn ang="0">
                <a:pos x="1462" y="246"/>
              </a:cxn>
              <a:cxn ang="0">
                <a:pos x="1472" y="185"/>
              </a:cxn>
              <a:cxn ang="0">
                <a:pos x="1492" y="118"/>
              </a:cxn>
              <a:cxn ang="0">
                <a:pos x="1511" y="64"/>
              </a:cxn>
              <a:cxn ang="0">
                <a:pos x="1545" y="0"/>
              </a:cxn>
              <a:cxn ang="0">
                <a:pos x="1472" y="26"/>
              </a:cxn>
              <a:cxn ang="0">
                <a:pos x="1398" y="48"/>
              </a:cxn>
              <a:cxn ang="0">
                <a:pos x="1315" y="65"/>
              </a:cxn>
              <a:cxn ang="0">
                <a:pos x="1242" y="76"/>
              </a:cxn>
              <a:cxn ang="0">
                <a:pos x="1200" y="80"/>
              </a:cxn>
              <a:cxn ang="0">
                <a:pos x="1140" y="76"/>
              </a:cxn>
              <a:cxn ang="0">
                <a:pos x="1240" y="167"/>
              </a:cxn>
              <a:cxn ang="0">
                <a:pos x="1196" y="211"/>
              </a:cxn>
              <a:cxn ang="0">
                <a:pos x="1146" y="249"/>
              </a:cxn>
              <a:cxn ang="0">
                <a:pos x="1090" y="291"/>
              </a:cxn>
              <a:cxn ang="0">
                <a:pos x="1023" y="331"/>
              </a:cxn>
              <a:cxn ang="0">
                <a:pos x="950" y="372"/>
              </a:cxn>
              <a:cxn ang="0">
                <a:pos x="882" y="406"/>
              </a:cxn>
              <a:cxn ang="0">
                <a:pos x="784" y="450"/>
              </a:cxn>
              <a:cxn ang="0">
                <a:pos x="698" y="481"/>
              </a:cxn>
              <a:cxn ang="0">
                <a:pos x="620" y="510"/>
              </a:cxn>
              <a:cxn ang="0">
                <a:pos x="533" y="536"/>
              </a:cxn>
              <a:cxn ang="0">
                <a:pos x="455" y="557"/>
              </a:cxn>
              <a:cxn ang="0">
                <a:pos x="398" y="569"/>
              </a:cxn>
              <a:cxn ang="0">
                <a:pos x="278" y="586"/>
              </a:cxn>
              <a:cxn ang="0">
                <a:pos x="244" y="590"/>
              </a:cxn>
              <a:cxn ang="0">
                <a:pos x="209" y="592"/>
              </a:cxn>
              <a:cxn ang="0">
                <a:pos x="178" y="594"/>
              </a:cxn>
              <a:cxn ang="0">
                <a:pos x="147" y="594"/>
              </a:cxn>
              <a:cxn ang="0">
                <a:pos x="114" y="596"/>
              </a:cxn>
              <a:cxn ang="0">
                <a:pos x="76" y="597"/>
              </a:cxn>
              <a:cxn ang="0">
                <a:pos x="41" y="597"/>
              </a:cxn>
              <a:cxn ang="0">
                <a:pos x="0" y="594"/>
              </a:cxn>
            </a:cxnLst>
            <a:rect l="0" t="0" r="r" b="b"/>
            <a:pathLst>
              <a:path w="1545" h="640">
                <a:moveTo>
                  <a:pt x="0" y="594"/>
                </a:moveTo>
                <a:lnTo>
                  <a:pt x="85" y="620"/>
                </a:lnTo>
                <a:lnTo>
                  <a:pt x="119" y="627"/>
                </a:lnTo>
                <a:lnTo>
                  <a:pt x="164" y="633"/>
                </a:lnTo>
                <a:lnTo>
                  <a:pt x="223" y="638"/>
                </a:lnTo>
                <a:lnTo>
                  <a:pt x="345" y="640"/>
                </a:lnTo>
                <a:lnTo>
                  <a:pt x="408" y="639"/>
                </a:lnTo>
                <a:lnTo>
                  <a:pt x="526" y="630"/>
                </a:lnTo>
                <a:lnTo>
                  <a:pt x="607" y="618"/>
                </a:lnTo>
                <a:lnTo>
                  <a:pt x="686" y="603"/>
                </a:lnTo>
                <a:lnTo>
                  <a:pt x="770" y="584"/>
                </a:lnTo>
                <a:lnTo>
                  <a:pt x="853" y="560"/>
                </a:lnTo>
                <a:lnTo>
                  <a:pt x="917" y="540"/>
                </a:lnTo>
                <a:lnTo>
                  <a:pt x="1002" y="505"/>
                </a:lnTo>
                <a:lnTo>
                  <a:pt x="1066" y="476"/>
                </a:lnTo>
                <a:lnTo>
                  <a:pt x="1132" y="441"/>
                </a:lnTo>
                <a:lnTo>
                  <a:pt x="1202" y="402"/>
                </a:lnTo>
                <a:lnTo>
                  <a:pt x="1237" y="377"/>
                </a:lnTo>
                <a:lnTo>
                  <a:pt x="1277" y="346"/>
                </a:lnTo>
                <a:lnTo>
                  <a:pt x="1310" y="317"/>
                </a:lnTo>
                <a:lnTo>
                  <a:pt x="1335" y="290"/>
                </a:lnTo>
                <a:lnTo>
                  <a:pt x="1360" y="268"/>
                </a:lnTo>
                <a:lnTo>
                  <a:pt x="1456" y="358"/>
                </a:lnTo>
                <a:lnTo>
                  <a:pt x="1456" y="306"/>
                </a:lnTo>
                <a:lnTo>
                  <a:pt x="1462" y="246"/>
                </a:lnTo>
                <a:lnTo>
                  <a:pt x="1472" y="185"/>
                </a:lnTo>
                <a:lnTo>
                  <a:pt x="1492" y="118"/>
                </a:lnTo>
                <a:lnTo>
                  <a:pt x="1511" y="64"/>
                </a:lnTo>
                <a:lnTo>
                  <a:pt x="1545" y="0"/>
                </a:lnTo>
                <a:lnTo>
                  <a:pt x="1472" y="26"/>
                </a:lnTo>
                <a:lnTo>
                  <a:pt x="1398" y="48"/>
                </a:lnTo>
                <a:lnTo>
                  <a:pt x="1315" y="65"/>
                </a:lnTo>
                <a:lnTo>
                  <a:pt x="1242" y="76"/>
                </a:lnTo>
                <a:lnTo>
                  <a:pt x="1200" y="80"/>
                </a:lnTo>
                <a:lnTo>
                  <a:pt x="1140" y="76"/>
                </a:lnTo>
                <a:lnTo>
                  <a:pt x="1240" y="167"/>
                </a:lnTo>
                <a:lnTo>
                  <a:pt x="1196" y="211"/>
                </a:lnTo>
                <a:lnTo>
                  <a:pt x="1146" y="249"/>
                </a:lnTo>
                <a:lnTo>
                  <a:pt x="1090" y="291"/>
                </a:lnTo>
                <a:lnTo>
                  <a:pt x="1023" y="331"/>
                </a:lnTo>
                <a:lnTo>
                  <a:pt x="950" y="372"/>
                </a:lnTo>
                <a:lnTo>
                  <a:pt x="882" y="406"/>
                </a:lnTo>
                <a:lnTo>
                  <a:pt x="784" y="450"/>
                </a:lnTo>
                <a:lnTo>
                  <a:pt x="698" y="481"/>
                </a:lnTo>
                <a:lnTo>
                  <a:pt x="620" y="510"/>
                </a:lnTo>
                <a:lnTo>
                  <a:pt x="533" y="536"/>
                </a:lnTo>
                <a:lnTo>
                  <a:pt x="455" y="557"/>
                </a:lnTo>
                <a:lnTo>
                  <a:pt x="398" y="569"/>
                </a:lnTo>
                <a:lnTo>
                  <a:pt x="278" y="586"/>
                </a:lnTo>
                <a:lnTo>
                  <a:pt x="244" y="590"/>
                </a:lnTo>
                <a:lnTo>
                  <a:pt x="209" y="592"/>
                </a:lnTo>
                <a:lnTo>
                  <a:pt x="178" y="594"/>
                </a:lnTo>
                <a:lnTo>
                  <a:pt x="147" y="594"/>
                </a:lnTo>
                <a:lnTo>
                  <a:pt x="114" y="596"/>
                </a:lnTo>
                <a:lnTo>
                  <a:pt x="76" y="597"/>
                </a:lnTo>
                <a:lnTo>
                  <a:pt x="41" y="597"/>
                </a:lnTo>
                <a:lnTo>
                  <a:pt x="0" y="594"/>
                </a:lnTo>
              </a:path>
            </a:pathLst>
          </a:custGeom>
          <a:solidFill>
            <a:schemeClr val="bg2"/>
          </a:solidFill>
          <a:ln w="19050" cap="rnd" cmpd="sng">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endParaRPr lang="en-US">
              <a:latin typeface="BMWTypeRegular"/>
            </a:endParaRPr>
          </a:p>
        </p:txBody>
      </p:sp>
      <p:sp>
        <p:nvSpPr>
          <p:cNvPr id="28" name="Textfeld 27"/>
          <p:cNvSpPr txBox="1"/>
          <p:nvPr/>
        </p:nvSpPr>
        <p:spPr>
          <a:xfrm>
            <a:off x="468313" y="5391122"/>
            <a:ext cx="8208962" cy="1061829"/>
          </a:xfrm>
          <a:prstGeom prst="rect">
            <a:avLst/>
          </a:prstGeom>
          <a:noFill/>
        </p:spPr>
        <p:txBody>
          <a:bodyPr wrap="square" lIns="360000" rtlCol="0">
            <a:spAutoFit/>
          </a:bodyPr>
          <a:lstStyle/>
          <a:p>
            <a:pPr>
              <a:lnSpc>
                <a:spcPct val="150000"/>
              </a:lnSpc>
            </a:pPr>
            <a:r>
              <a:rPr lang="en-US" sz="1400" b="1" dirty="0" smtClean="0">
                <a:latin typeface="+mn-lt"/>
              </a:rPr>
              <a:t>2 – Possibilities </a:t>
            </a:r>
            <a:r>
              <a:rPr lang="en-US" sz="1400" b="1" smtClean="0">
                <a:latin typeface="+mn-lt"/>
              </a:rPr>
              <a:t>of situation:</a:t>
            </a:r>
            <a:endParaRPr lang="en-US" sz="1400" b="1" dirty="0" smtClean="0">
              <a:latin typeface="+mn-lt"/>
            </a:endParaRPr>
          </a:p>
          <a:p>
            <a:pPr marL="355600" indent="-355600">
              <a:lnSpc>
                <a:spcPct val="150000"/>
              </a:lnSpc>
              <a:buFont typeface="Wingdings" pitchFamily="2" charset="2"/>
              <a:buChar char="Ø"/>
            </a:pPr>
            <a:r>
              <a:rPr lang="en-US" sz="1400" dirty="0" smtClean="0"/>
              <a:t>Expectation = Confirmation </a:t>
            </a:r>
            <a:r>
              <a:rPr lang="en-US" sz="1400" dirty="0" smtClean="0">
                <a:sym typeface="Wingdings"/>
              </a:rPr>
              <a:t> No need for clarification</a:t>
            </a:r>
            <a:endParaRPr lang="en-US" sz="1400" dirty="0" smtClean="0"/>
          </a:p>
          <a:p>
            <a:pPr marL="355600" indent="-355600">
              <a:lnSpc>
                <a:spcPct val="150000"/>
              </a:lnSpc>
              <a:buFont typeface="Wingdings" pitchFamily="2" charset="2"/>
              <a:buChar char="Ø"/>
            </a:pPr>
            <a:r>
              <a:rPr lang="en-US" sz="1400" dirty="0" smtClean="0"/>
              <a:t>Expectation</a:t>
            </a:r>
            <a:r>
              <a:rPr lang="en-US" sz="1400" dirty="0" smtClean="0">
                <a:latin typeface="+mn-lt"/>
              </a:rPr>
              <a:t> ≠ Confirmation </a:t>
            </a:r>
            <a:r>
              <a:rPr lang="en-US" sz="1400" dirty="0" smtClean="0">
                <a:latin typeface="+mn-lt"/>
                <a:sym typeface="Wingdings"/>
              </a:rPr>
              <a:t> Need for clarification</a:t>
            </a:r>
            <a:endParaRPr lang="en-US" sz="1400" dirty="0" smtClean="0">
              <a:latin typeface="+mn-lt"/>
            </a:endParaRPr>
          </a:p>
        </p:txBody>
      </p:sp>
      <p:sp>
        <p:nvSpPr>
          <p:cNvPr id="29" name="Textfeld 28"/>
          <p:cNvSpPr txBox="1"/>
          <p:nvPr/>
        </p:nvSpPr>
        <p:spPr>
          <a:xfrm>
            <a:off x="805218" y="2558763"/>
            <a:ext cx="1998000" cy="954107"/>
          </a:xfrm>
          <a:prstGeom prst="rect">
            <a:avLst/>
          </a:prstGeom>
          <a:noFill/>
        </p:spPr>
        <p:txBody>
          <a:bodyPr wrap="square" rtlCol="0">
            <a:spAutoFit/>
          </a:bodyPr>
          <a:lstStyle/>
          <a:p>
            <a:r>
              <a:rPr lang="en-US" sz="1400" dirty="0" smtClean="0"/>
              <a:t>e.g. </a:t>
            </a:r>
          </a:p>
          <a:p>
            <a:r>
              <a:rPr lang="en-US" sz="1400" dirty="0" smtClean="0"/>
              <a:t>feature/</a:t>
            </a:r>
          </a:p>
          <a:p>
            <a:r>
              <a:rPr lang="en-US" sz="1400" dirty="0" smtClean="0"/>
              <a:t>component/</a:t>
            </a:r>
          </a:p>
          <a:p>
            <a:r>
              <a:rPr lang="en-US" sz="1400" dirty="0" smtClean="0"/>
              <a:t>function (E-M-T)</a:t>
            </a:r>
            <a:endParaRPr lang="en-US" sz="1400" dirty="0" smtClean="0">
              <a:latin typeface="+mn-lt"/>
            </a:endParaRPr>
          </a:p>
        </p:txBody>
      </p:sp>
      <p:sp>
        <p:nvSpPr>
          <p:cNvPr id="31" name="Textfeld 30"/>
          <p:cNvSpPr txBox="1"/>
          <p:nvPr/>
        </p:nvSpPr>
        <p:spPr>
          <a:xfrm>
            <a:off x="6395487" y="2558763"/>
            <a:ext cx="1998000" cy="738664"/>
          </a:xfrm>
          <a:prstGeom prst="rect">
            <a:avLst/>
          </a:prstGeom>
          <a:noFill/>
        </p:spPr>
        <p:txBody>
          <a:bodyPr wrap="square" rtlCol="0">
            <a:spAutoFit/>
          </a:bodyPr>
          <a:lstStyle/>
          <a:p>
            <a:pPr algn="r"/>
            <a:r>
              <a:rPr lang="en-US" sz="1400" dirty="0" smtClean="0"/>
              <a:t>e.g. </a:t>
            </a:r>
          </a:p>
          <a:p>
            <a:pPr algn="r"/>
            <a:r>
              <a:rPr lang="en-US" sz="1400" dirty="0" smtClean="0"/>
              <a:t>component/</a:t>
            </a:r>
          </a:p>
          <a:p>
            <a:pPr algn="r"/>
            <a:r>
              <a:rPr lang="en-US" sz="1400" dirty="0" smtClean="0"/>
              <a:t>function</a:t>
            </a:r>
            <a:endParaRPr lang="en-US" sz="1400" dirty="0" smtClean="0">
              <a:latin typeface="+mn-lt"/>
            </a:endParaRPr>
          </a:p>
        </p:txBody>
      </p:sp>
      <p:sp>
        <p:nvSpPr>
          <p:cNvPr id="32" name="Textfeld 31"/>
          <p:cNvSpPr txBox="1"/>
          <p:nvPr/>
        </p:nvSpPr>
        <p:spPr>
          <a:xfrm>
            <a:off x="7446635" y="1082265"/>
            <a:ext cx="904415" cy="307777"/>
          </a:xfrm>
          <a:prstGeom prst="rect">
            <a:avLst/>
          </a:prstGeom>
          <a:noFill/>
        </p:spPr>
        <p:txBody>
          <a:bodyPr wrap="none" rtlCol="0" anchor="ctr">
            <a:spAutoFit/>
          </a:bodyPr>
          <a:lstStyle/>
          <a:p>
            <a:pPr algn="ctr"/>
            <a:r>
              <a:rPr lang="en-US" sz="1400" dirty="0" smtClean="0">
                <a:solidFill>
                  <a:prstClr val="black"/>
                </a:solidFill>
              </a:rPr>
              <a:t>Schematic</a:t>
            </a:r>
            <a:endParaRPr lang="en-US" sz="1400" dirty="0">
              <a:solidFill>
                <a:prstClr val="black"/>
              </a:solidFill>
            </a:endParaRPr>
          </a:p>
        </p:txBody>
      </p:sp>
      <p:cxnSp>
        <p:nvCxnSpPr>
          <p:cNvPr id="33" name="Gerade Verbindung 32"/>
          <p:cNvCxnSpPr/>
          <p:nvPr/>
        </p:nvCxnSpPr>
        <p:spPr>
          <a:xfrm>
            <a:off x="7240396" y="1129011"/>
            <a:ext cx="13168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p:nvCxnSpPr>
        <p:spPr>
          <a:xfrm>
            <a:off x="7240396" y="1343296"/>
            <a:ext cx="13168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p:nvCxnSpPr>
        <p:spPr>
          <a:xfrm>
            <a:off x="7240396" y="1129011"/>
            <a:ext cx="13168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p:nvCxnSpPr>
        <p:spPr>
          <a:xfrm>
            <a:off x="7240396" y="1343296"/>
            <a:ext cx="13168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Picture 3" descr="C:\Users\Q155554\AppData\Local\Microsoft\Windows\Temporary Internet Files\Content.IE5\T3XD6DLA\MP900442432[1].jpg"/>
          <p:cNvPicPr>
            <a:picLocks noChangeAspect="1" noChangeArrowheads="1"/>
          </p:cNvPicPr>
          <p:nvPr/>
        </p:nvPicPr>
        <p:blipFill>
          <a:blip r:embed="rId5" cstate="print"/>
          <a:srcRect/>
          <a:stretch>
            <a:fillRect/>
          </a:stretch>
        </p:blipFill>
        <p:spPr bwMode="auto">
          <a:xfrm>
            <a:off x="3733353" y="4077583"/>
            <a:ext cx="1683643" cy="863585"/>
          </a:xfrm>
          <a:prstGeom prst="rect">
            <a:avLst/>
          </a:prstGeom>
          <a:noFill/>
        </p:spPr>
      </p:pic>
      <p:sp>
        <p:nvSpPr>
          <p:cNvPr id="37" name="Foliennummernplatzhalter 27"/>
          <p:cNvSpPr txBox="1">
            <a:spLocks/>
          </p:cNvSpPr>
          <p:nvPr/>
        </p:nvSpPr>
        <p:spPr>
          <a:xfrm>
            <a:off x="6553200" y="6528871"/>
            <a:ext cx="2124075" cy="329130"/>
          </a:xfrm>
          <a:prstGeom prst="rect">
            <a:avLst/>
          </a:prstGeom>
        </p:spPr>
        <p:txBody>
          <a:bodyPr vert="horz"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sz="900" smtClean="0"/>
              <a:t>Slide</a:t>
            </a:r>
            <a:r>
              <a:rPr kumimoji="0" lang="de-DE" sz="900" b="0" i="0" u="none" strike="noStrike" kern="1200" cap="none" spc="0" normalizeH="0" baseline="0" noProof="0" smtClean="0">
                <a:ln>
                  <a:noFill/>
                </a:ln>
                <a:solidFill>
                  <a:schemeClr val="tx1"/>
                </a:solidFill>
                <a:effectLst/>
                <a:uLnTx/>
                <a:uFillTx/>
                <a:latin typeface="+mn-lt"/>
                <a:ea typeface="+mn-ea"/>
                <a:cs typeface="+mn-cs"/>
              </a:rPr>
              <a:t> </a:t>
            </a:r>
            <a:fld id="{AA807A42-CF27-4B84-8583-18EBE418342E}" type="slidenum">
              <a:rPr kumimoji="0" lang="de-DE"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9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kt 45" hidden="1"/>
          <p:cNvGraphicFramePr>
            <a:graphicFrameLocks noChangeAspect="1"/>
          </p:cNvGraphicFramePr>
          <p:nvPr/>
        </p:nvGraphicFramePr>
        <p:xfrm>
          <a:off x="1587" y="1588"/>
          <a:ext cx="1587" cy="1587"/>
        </p:xfrm>
        <a:graphic>
          <a:graphicData uri="http://schemas.openxmlformats.org/presentationml/2006/ole">
            <p:oleObj spid="_x0000_s125954" name="think-cell Folie" r:id="rId3" imgW="270" imgH="270" progId="TCLayout.ActiveDocument.1">
              <p:embed/>
            </p:oleObj>
          </a:graphicData>
        </a:graphic>
      </p:graphicFrame>
      <p:sp>
        <p:nvSpPr>
          <p:cNvPr id="4" name="Textplatzhalter 3"/>
          <p:cNvSpPr>
            <a:spLocks noGrp="1"/>
          </p:cNvSpPr>
          <p:nvPr>
            <p:ph type="body" sz="quarter" idx="13"/>
          </p:nvPr>
        </p:nvSpPr>
        <p:spPr/>
        <p:txBody>
          <a:bodyPr/>
          <a:lstStyle/>
          <a:p>
            <a:r>
              <a:rPr lang="en-US" smtClean="0"/>
              <a:t>Cascade of Maturity Requirements and Agreement pending supplier.</a:t>
            </a:r>
            <a:endParaRPr lang="en-US" dirty="0"/>
          </a:p>
        </p:txBody>
      </p:sp>
      <p:sp>
        <p:nvSpPr>
          <p:cNvPr id="6" name="Rechteck 5"/>
          <p:cNvSpPr/>
          <p:nvPr/>
        </p:nvSpPr>
        <p:spPr>
          <a:xfrm>
            <a:off x="468314" y="1700211"/>
            <a:ext cx="3996000" cy="4810561"/>
          </a:xfrm>
          <a:prstGeom prst="rect">
            <a:avLst/>
          </a:prstGeom>
          <a:solidFill>
            <a:schemeClr val="bg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a:endParaRPr lang="de-DE" sz="1400" kern="0" dirty="0">
              <a:solidFill>
                <a:sysClr val="windowText" lastClr="000000"/>
              </a:solidFill>
            </a:endParaRPr>
          </a:p>
        </p:txBody>
      </p:sp>
      <p:sp>
        <p:nvSpPr>
          <p:cNvPr id="7" name="Rechteck 6"/>
          <p:cNvSpPr/>
          <p:nvPr/>
        </p:nvSpPr>
        <p:spPr>
          <a:xfrm>
            <a:off x="4625842" y="1700212"/>
            <a:ext cx="4051433" cy="4810561"/>
          </a:xfrm>
          <a:prstGeom prst="rect">
            <a:avLst/>
          </a:prstGeom>
          <a:solidFill>
            <a:schemeClr val="bg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a:endParaRPr lang="de-DE" sz="1400" kern="0" dirty="0">
              <a:solidFill>
                <a:sysClr val="windowText" lastClr="000000"/>
              </a:solidFill>
            </a:endParaRPr>
          </a:p>
        </p:txBody>
      </p:sp>
      <p:sp>
        <p:nvSpPr>
          <p:cNvPr id="13" name="Textfeld 12"/>
          <p:cNvSpPr txBox="1"/>
          <p:nvPr/>
        </p:nvSpPr>
        <p:spPr>
          <a:xfrm>
            <a:off x="468313" y="1662932"/>
            <a:ext cx="3996002" cy="451406"/>
          </a:xfrm>
          <a:prstGeom prst="rect">
            <a:avLst/>
          </a:prstGeom>
          <a:noFill/>
        </p:spPr>
        <p:txBody>
          <a:bodyPr wrap="square" lIns="0" rtlCol="0">
            <a:spAutoFit/>
          </a:bodyPr>
          <a:lstStyle/>
          <a:p>
            <a:pPr algn="ctr">
              <a:lnSpc>
                <a:spcPts val="2800"/>
              </a:lnSpc>
              <a:defRPr/>
            </a:pPr>
            <a:r>
              <a:rPr lang="de-DE" b="1" smtClean="0">
                <a:solidFill>
                  <a:prstClr val="black"/>
                </a:solidFill>
              </a:rPr>
              <a:t>Product features/ Quality</a:t>
            </a:r>
            <a:endParaRPr lang="de-DE" b="1" dirty="0">
              <a:solidFill>
                <a:prstClr val="black"/>
              </a:solidFill>
            </a:endParaRPr>
          </a:p>
        </p:txBody>
      </p:sp>
      <p:sp>
        <p:nvSpPr>
          <p:cNvPr id="14" name="Textfeld 13"/>
          <p:cNvSpPr txBox="1"/>
          <p:nvPr/>
        </p:nvSpPr>
        <p:spPr>
          <a:xfrm>
            <a:off x="4625843" y="1662932"/>
            <a:ext cx="4122620" cy="810478"/>
          </a:xfrm>
          <a:prstGeom prst="rect">
            <a:avLst/>
          </a:prstGeom>
          <a:noFill/>
        </p:spPr>
        <p:txBody>
          <a:bodyPr wrap="square" lIns="0" rtlCol="0">
            <a:spAutoFit/>
          </a:bodyPr>
          <a:lstStyle/>
          <a:p>
            <a:pPr algn="ctr">
              <a:lnSpc>
                <a:spcPts val="2800"/>
              </a:lnSpc>
              <a:tabLst>
                <a:tab pos="1971675" algn="l"/>
                <a:tab pos="2152650" algn="l"/>
              </a:tabLst>
              <a:defRPr/>
            </a:pPr>
            <a:r>
              <a:rPr lang="de-DE" b="1" smtClean="0">
                <a:solidFill>
                  <a:prstClr val="black"/>
                </a:solidFill>
              </a:rPr>
              <a:t>Production/ Assembling planning </a:t>
            </a:r>
            <a:br>
              <a:rPr lang="de-DE" b="1" smtClean="0">
                <a:solidFill>
                  <a:prstClr val="black"/>
                </a:solidFill>
              </a:rPr>
            </a:br>
            <a:r>
              <a:rPr lang="de-DE" b="1" smtClean="0">
                <a:solidFill>
                  <a:prstClr val="black"/>
                </a:solidFill>
              </a:rPr>
              <a:t>                                       (Ramp-up plant)</a:t>
            </a:r>
            <a:endParaRPr lang="de-DE" b="1" dirty="0">
              <a:solidFill>
                <a:prstClr val="black"/>
              </a:solidFill>
            </a:endParaRPr>
          </a:p>
        </p:txBody>
      </p:sp>
      <p:sp>
        <p:nvSpPr>
          <p:cNvPr id="42" name="Textfeld 41"/>
          <p:cNvSpPr txBox="1"/>
          <p:nvPr/>
        </p:nvSpPr>
        <p:spPr>
          <a:xfrm>
            <a:off x="1259632" y="5301208"/>
            <a:ext cx="1584176" cy="523220"/>
          </a:xfrm>
          <a:prstGeom prst="rect">
            <a:avLst/>
          </a:prstGeom>
          <a:noFill/>
        </p:spPr>
        <p:txBody>
          <a:bodyPr wrap="square" rtlCol="0">
            <a:spAutoFit/>
          </a:bodyPr>
          <a:lstStyle/>
          <a:p>
            <a:pPr marL="171450" indent="-171450" algn="ctr"/>
            <a:r>
              <a:rPr lang="de-DE" sz="1400" smtClean="0">
                <a:solidFill>
                  <a:prstClr val="black"/>
                </a:solidFill>
              </a:rPr>
              <a:t>Supplier*</a:t>
            </a:r>
            <a:r>
              <a:rPr lang="de-DE" sz="1400" baseline="30000" smtClean="0">
                <a:solidFill>
                  <a:prstClr val="black"/>
                </a:solidFill>
              </a:rPr>
              <a:t>1</a:t>
            </a:r>
            <a:r>
              <a:rPr lang="de-DE" sz="1400" smtClean="0">
                <a:solidFill>
                  <a:prstClr val="black"/>
                </a:solidFill>
              </a:rPr>
              <a:t> (component)*</a:t>
            </a:r>
            <a:r>
              <a:rPr lang="de-DE" sz="1400" baseline="30000" dirty="0">
                <a:solidFill>
                  <a:prstClr val="black"/>
                </a:solidFill>
              </a:rPr>
              <a:t>2</a:t>
            </a:r>
          </a:p>
        </p:txBody>
      </p:sp>
      <p:sp>
        <p:nvSpPr>
          <p:cNvPr id="44" name="Textfeld 43"/>
          <p:cNvSpPr txBox="1"/>
          <p:nvPr/>
        </p:nvSpPr>
        <p:spPr>
          <a:xfrm>
            <a:off x="861492" y="6248345"/>
            <a:ext cx="3350468" cy="276999"/>
          </a:xfrm>
          <a:prstGeom prst="rect">
            <a:avLst/>
          </a:prstGeom>
          <a:noFill/>
        </p:spPr>
        <p:txBody>
          <a:bodyPr wrap="square" rtlCol="0">
            <a:spAutoFit/>
          </a:bodyPr>
          <a:lstStyle/>
          <a:p>
            <a:pPr marL="171450" indent="-171450"/>
            <a:r>
              <a:rPr lang="en-US" sz="1200" smtClean="0">
                <a:solidFill>
                  <a:prstClr val="black"/>
                </a:solidFill>
              </a:rPr>
              <a:t>= Handshake between Expectation and Confirmation</a:t>
            </a:r>
            <a:endParaRPr lang="en-US" sz="1200" dirty="0">
              <a:solidFill>
                <a:prstClr val="black"/>
              </a:solidFill>
            </a:endParaRPr>
          </a:p>
        </p:txBody>
      </p:sp>
      <p:sp>
        <p:nvSpPr>
          <p:cNvPr id="39" name="Textfeld 38"/>
          <p:cNvSpPr txBox="1"/>
          <p:nvPr/>
        </p:nvSpPr>
        <p:spPr>
          <a:xfrm>
            <a:off x="4561367" y="6277821"/>
            <a:ext cx="4442543" cy="230832"/>
          </a:xfrm>
          <a:prstGeom prst="rect">
            <a:avLst/>
          </a:prstGeom>
          <a:noFill/>
        </p:spPr>
        <p:txBody>
          <a:bodyPr wrap="square" rtlCol="0" anchor="ctr">
            <a:spAutoFit/>
          </a:bodyPr>
          <a:lstStyle/>
          <a:p>
            <a:pPr marL="171450" indent="-171450"/>
            <a:r>
              <a:rPr lang="de-DE" sz="900" dirty="0">
                <a:solidFill>
                  <a:prstClr val="black"/>
                </a:solidFill>
              </a:rPr>
              <a:t>*</a:t>
            </a:r>
            <a:r>
              <a:rPr lang="de-DE" sz="900" baseline="30000">
                <a:solidFill>
                  <a:prstClr val="black"/>
                </a:solidFill>
              </a:rPr>
              <a:t>3 </a:t>
            </a:r>
            <a:r>
              <a:rPr lang="en-US" sz="900" smtClean="0"/>
              <a:t>Facilities, machinery, tools, devices, manufacturing equipment, and consumables</a:t>
            </a:r>
            <a:endParaRPr lang="de-DE" sz="900" dirty="0">
              <a:solidFill>
                <a:prstClr val="black"/>
              </a:solidFill>
            </a:endParaRPr>
          </a:p>
        </p:txBody>
      </p:sp>
      <p:sp>
        <p:nvSpPr>
          <p:cNvPr id="40" name="Textfeld 39"/>
          <p:cNvSpPr txBox="1"/>
          <p:nvPr/>
        </p:nvSpPr>
        <p:spPr>
          <a:xfrm>
            <a:off x="6372200" y="5301208"/>
            <a:ext cx="1584176" cy="738664"/>
          </a:xfrm>
          <a:prstGeom prst="rect">
            <a:avLst/>
          </a:prstGeom>
          <a:noFill/>
        </p:spPr>
        <p:txBody>
          <a:bodyPr wrap="square" rtlCol="0">
            <a:spAutoFit/>
          </a:bodyPr>
          <a:lstStyle/>
          <a:p>
            <a:pPr marL="171450" indent="-171450" algn="ctr"/>
            <a:r>
              <a:rPr lang="de-DE" sz="1400" smtClean="0">
                <a:solidFill>
                  <a:prstClr val="black"/>
                </a:solidFill>
              </a:rPr>
              <a:t>Suplier (manufacturing equipment)*</a:t>
            </a:r>
            <a:r>
              <a:rPr lang="de-DE" sz="1400" baseline="30000" dirty="0" smtClean="0">
                <a:solidFill>
                  <a:prstClr val="black"/>
                </a:solidFill>
              </a:rPr>
              <a:t>3</a:t>
            </a:r>
            <a:endParaRPr lang="de-DE" sz="2400" baseline="30000" dirty="0">
              <a:solidFill>
                <a:prstClr val="black"/>
              </a:solidFill>
            </a:endParaRPr>
          </a:p>
        </p:txBody>
      </p:sp>
      <p:sp>
        <p:nvSpPr>
          <p:cNvPr id="45" name="Textfeld 44"/>
          <p:cNvSpPr txBox="1"/>
          <p:nvPr/>
        </p:nvSpPr>
        <p:spPr>
          <a:xfrm>
            <a:off x="702728" y="2383991"/>
            <a:ext cx="1877180" cy="307777"/>
          </a:xfrm>
          <a:prstGeom prst="rect">
            <a:avLst/>
          </a:prstGeom>
          <a:noFill/>
        </p:spPr>
        <p:txBody>
          <a:bodyPr wrap="square" rtlCol="0">
            <a:spAutoFit/>
          </a:bodyPr>
          <a:lstStyle/>
          <a:p>
            <a:pPr marL="171450" indent="-171450"/>
            <a:r>
              <a:rPr lang="de-DE" sz="1400" smtClean="0">
                <a:solidFill>
                  <a:prstClr val="black"/>
                </a:solidFill>
              </a:rPr>
              <a:t>Responsibility for feature</a:t>
            </a:r>
            <a:endParaRPr lang="de-DE" sz="1400" dirty="0">
              <a:solidFill>
                <a:prstClr val="black"/>
              </a:solidFill>
            </a:endParaRPr>
          </a:p>
        </p:txBody>
      </p:sp>
      <p:sp>
        <p:nvSpPr>
          <p:cNvPr id="47" name="Textfeld 46"/>
          <p:cNvSpPr txBox="1"/>
          <p:nvPr/>
        </p:nvSpPr>
        <p:spPr>
          <a:xfrm>
            <a:off x="539552" y="3573016"/>
            <a:ext cx="1656184" cy="954107"/>
          </a:xfrm>
          <a:prstGeom prst="rect">
            <a:avLst/>
          </a:prstGeom>
          <a:noFill/>
        </p:spPr>
        <p:txBody>
          <a:bodyPr wrap="square" rtlCol="0">
            <a:spAutoFit/>
          </a:bodyPr>
          <a:lstStyle/>
          <a:p>
            <a:r>
              <a:rPr lang="de-DE" sz="1400" dirty="0" err="1" smtClean="0">
                <a:solidFill>
                  <a:prstClr val="black"/>
                </a:solidFill>
              </a:rPr>
              <a:t>Responsi</a:t>
            </a:r>
            <a:r>
              <a:rPr lang="de-DE" sz="1400" dirty="0" smtClean="0">
                <a:solidFill>
                  <a:prstClr val="black"/>
                </a:solidFill>
              </a:rPr>
              <a:t>-</a:t>
            </a:r>
            <a:br>
              <a:rPr lang="de-DE" sz="1400" dirty="0" smtClean="0">
                <a:solidFill>
                  <a:prstClr val="black"/>
                </a:solidFill>
              </a:rPr>
            </a:br>
            <a:r>
              <a:rPr lang="de-DE" sz="1400" dirty="0" err="1" smtClean="0">
                <a:solidFill>
                  <a:prstClr val="black"/>
                </a:solidFill>
              </a:rPr>
              <a:t>bility</a:t>
            </a:r>
            <a:r>
              <a:rPr lang="de-DE" sz="1400" dirty="0" smtClean="0">
                <a:solidFill>
                  <a:prstClr val="black"/>
                </a:solidFill>
              </a:rPr>
              <a:t> </a:t>
            </a:r>
            <a:r>
              <a:rPr lang="de-DE" sz="1400" dirty="0" err="1" smtClean="0">
                <a:solidFill>
                  <a:prstClr val="black"/>
                </a:solidFill>
              </a:rPr>
              <a:t>for</a:t>
            </a:r>
            <a:r>
              <a:rPr lang="de-DE" sz="1400" dirty="0" smtClean="0">
                <a:solidFill>
                  <a:prstClr val="black"/>
                </a:solidFill>
              </a:rPr>
              <a:t> </a:t>
            </a:r>
          </a:p>
          <a:p>
            <a:r>
              <a:rPr lang="de-DE" sz="1400" dirty="0" err="1" smtClean="0">
                <a:solidFill>
                  <a:prstClr val="black"/>
                </a:solidFill>
              </a:rPr>
              <a:t>product</a:t>
            </a:r>
            <a:r>
              <a:rPr lang="de-DE" sz="1400" dirty="0" smtClean="0">
                <a:solidFill>
                  <a:prstClr val="black"/>
                </a:solidFill>
              </a:rPr>
              <a:t/>
            </a:r>
            <a:br>
              <a:rPr lang="de-DE" sz="1400" dirty="0" smtClean="0">
                <a:solidFill>
                  <a:prstClr val="black"/>
                </a:solidFill>
              </a:rPr>
            </a:br>
            <a:r>
              <a:rPr lang="de-DE" sz="1400" dirty="0" err="1" smtClean="0">
                <a:solidFill>
                  <a:prstClr val="black"/>
                </a:solidFill>
              </a:rPr>
              <a:t>approval</a:t>
            </a:r>
            <a:endParaRPr lang="de-DE" sz="1400" dirty="0">
              <a:solidFill>
                <a:prstClr val="black"/>
              </a:solidFill>
            </a:endParaRPr>
          </a:p>
        </p:txBody>
      </p:sp>
      <p:sp>
        <p:nvSpPr>
          <p:cNvPr id="63" name="Freeform 24"/>
          <p:cNvSpPr>
            <a:spLocks/>
          </p:cNvSpPr>
          <p:nvPr/>
        </p:nvSpPr>
        <p:spPr bwMode="auto">
          <a:xfrm rot="15629891" flipH="1" flipV="1">
            <a:off x="2181316" y="4590174"/>
            <a:ext cx="1608082" cy="831351"/>
          </a:xfrm>
          <a:custGeom>
            <a:avLst/>
            <a:gdLst/>
            <a:ahLst/>
            <a:cxnLst>
              <a:cxn ang="0">
                <a:pos x="0" y="594"/>
              </a:cxn>
              <a:cxn ang="0">
                <a:pos x="85" y="620"/>
              </a:cxn>
              <a:cxn ang="0">
                <a:pos x="119" y="627"/>
              </a:cxn>
              <a:cxn ang="0">
                <a:pos x="164" y="633"/>
              </a:cxn>
              <a:cxn ang="0">
                <a:pos x="223" y="638"/>
              </a:cxn>
              <a:cxn ang="0">
                <a:pos x="345" y="640"/>
              </a:cxn>
              <a:cxn ang="0">
                <a:pos x="408" y="639"/>
              </a:cxn>
              <a:cxn ang="0">
                <a:pos x="526" y="630"/>
              </a:cxn>
              <a:cxn ang="0">
                <a:pos x="607" y="618"/>
              </a:cxn>
              <a:cxn ang="0">
                <a:pos x="686" y="603"/>
              </a:cxn>
              <a:cxn ang="0">
                <a:pos x="770" y="584"/>
              </a:cxn>
              <a:cxn ang="0">
                <a:pos x="853" y="560"/>
              </a:cxn>
              <a:cxn ang="0">
                <a:pos x="917" y="540"/>
              </a:cxn>
              <a:cxn ang="0">
                <a:pos x="1002" y="505"/>
              </a:cxn>
              <a:cxn ang="0">
                <a:pos x="1066" y="476"/>
              </a:cxn>
              <a:cxn ang="0">
                <a:pos x="1132" y="441"/>
              </a:cxn>
              <a:cxn ang="0">
                <a:pos x="1202" y="402"/>
              </a:cxn>
              <a:cxn ang="0">
                <a:pos x="1237" y="377"/>
              </a:cxn>
              <a:cxn ang="0">
                <a:pos x="1277" y="346"/>
              </a:cxn>
              <a:cxn ang="0">
                <a:pos x="1310" y="317"/>
              </a:cxn>
              <a:cxn ang="0">
                <a:pos x="1335" y="290"/>
              </a:cxn>
              <a:cxn ang="0">
                <a:pos x="1360" y="268"/>
              </a:cxn>
              <a:cxn ang="0">
                <a:pos x="1456" y="358"/>
              </a:cxn>
              <a:cxn ang="0">
                <a:pos x="1456" y="306"/>
              </a:cxn>
              <a:cxn ang="0">
                <a:pos x="1462" y="246"/>
              </a:cxn>
              <a:cxn ang="0">
                <a:pos x="1472" y="185"/>
              </a:cxn>
              <a:cxn ang="0">
                <a:pos x="1492" y="118"/>
              </a:cxn>
              <a:cxn ang="0">
                <a:pos x="1511" y="64"/>
              </a:cxn>
              <a:cxn ang="0">
                <a:pos x="1545" y="0"/>
              </a:cxn>
              <a:cxn ang="0">
                <a:pos x="1472" y="26"/>
              </a:cxn>
              <a:cxn ang="0">
                <a:pos x="1398" y="48"/>
              </a:cxn>
              <a:cxn ang="0">
                <a:pos x="1315" y="65"/>
              </a:cxn>
              <a:cxn ang="0">
                <a:pos x="1242" y="76"/>
              </a:cxn>
              <a:cxn ang="0">
                <a:pos x="1200" y="80"/>
              </a:cxn>
              <a:cxn ang="0">
                <a:pos x="1140" y="76"/>
              </a:cxn>
              <a:cxn ang="0">
                <a:pos x="1240" y="167"/>
              </a:cxn>
              <a:cxn ang="0">
                <a:pos x="1196" y="211"/>
              </a:cxn>
              <a:cxn ang="0">
                <a:pos x="1146" y="249"/>
              </a:cxn>
              <a:cxn ang="0">
                <a:pos x="1090" y="291"/>
              </a:cxn>
              <a:cxn ang="0">
                <a:pos x="1023" y="331"/>
              </a:cxn>
              <a:cxn ang="0">
                <a:pos x="950" y="372"/>
              </a:cxn>
              <a:cxn ang="0">
                <a:pos x="882" y="406"/>
              </a:cxn>
              <a:cxn ang="0">
                <a:pos x="784" y="450"/>
              </a:cxn>
              <a:cxn ang="0">
                <a:pos x="698" y="481"/>
              </a:cxn>
              <a:cxn ang="0">
                <a:pos x="620" y="510"/>
              </a:cxn>
              <a:cxn ang="0">
                <a:pos x="533" y="536"/>
              </a:cxn>
              <a:cxn ang="0">
                <a:pos x="455" y="557"/>
              </a:cxn>
              <a:cxn ang="0">
                <a:pos x="398" y="569"/>
              </a:cxn>
              <a:cxn ang="0">
                <a:pos x="278" y="586"/>
              </a:cxn>
              <a:cxn ang="0">
                <a:pos x="244" y="590"/>
              </a:cxn>
              <a:cxn ang="0">
                <a:pos x="209" y="592"/>
              </a:cxn>
              <a:cxn ang="0">
                <a:pos x="178" y="594"/>
              </a:cxn>
              <a:cxn ang="0">
                <a:pos x="147" y="594"/>
              </a:cxn>
              <a:cxn ang="0">
                <a:pos x="114" y="596"/>
              </a:cxn>
              <a:cxn ang="0">
                <a:pos x="76" y="597"/>
              </a:cxn>
              <a:cxn ang="0">
                <a:pos x="41" y="597"/>
              </a:cxn>
              <a:cxn ang="0">
                <a:pos x="0" y="594"/>
              </a:cxn>
            </a:cxnLst>
            <a:rect l="0" t="0" r="r" b="b"/>
            <a:pathLst>
              <a:path w="1545" h="640">
                <a:moveTo>
                  <a:pt x="0" y="594"/>
                </a:moveTo>
                <a:lnTo>
                  <a:pt x="85" y="620"/>
                </a:lnTo>
                <a:lnTo>
                  <a:pt x="119" y="627"/>
                </a:lnTo>
                <a:lnTo>
                  <a:pt x="164" y="633"/>
                </a:lnTo>
                <a:lnTo>
                  <a:pt x="223" y="638"/>
                </a:lnTo>
                <a:lnTo>
                  <a:pt x="345" y="640"/>
                </a:lnTo>
                <a:lnTo>
                  <a:pt x="408" y="639"/>
                </a:lnTo>
                <a:lnTo>
                  <a:pt x="526" y="630"/>
                </a:lnTo>
                <a:lnTo>
                  <a:pt x="607" y="618"/>
                </a:lnTo>
                <a:lnTo>
                  <a:pt x="686" y="603"/>
                </a:lnTo>
                <a:lnTo>
                  <a:pt x="770" y="584"/>
                </a:lnTo>
                <a:lnTo>
                  <a:pt x="853" y="560"/>
                </a:lnTo>
                <a:lnTo>
                  <a:pt x="917" y="540"/>
                </a:lnTo>
                <a:lnTo>
                  <a:pt x="1002" y="505"/>
                </a:lnTo>
                <a:lnTo>
                  <a:pt x="1066" y="476"/>
                </a:lnTo>
                <a:lnTo>
                  <a:pt x="1132" y="441"/>
                </a:lnTo>
                <a:lnTo>
                  <a:pt x="1202" y="402"/>
                </a:lnTo>
                <a:lnTo>
                  <a:pt x="1237" y="377"/>
                </a:lnTo>
                <a:lnTo>
                  <a:pt x="1277" y="346"/>
                </a:lnTo>
                <a:lnTo>
                  <a:pt x="1310" y="317"/>
                </a:lnTo>
                <a:lnTo>
                  <a:pt x="1335" y="290"/>
                </a:lnTo>
                <a:lnTo>
                  <a:pt x="1360" y="268"/>
                </a:lnTo>
                <a:lnTo>
                  <a:pt x="1456" y="358"/>
                </a:lnTo>
                <a:lnTo>
                  <a:pt x="1456" y="306"/>
                </a:lnTo>
                <a:lnTo>
                  <a:pt x="1462" y="246"/>
                </a:lnTo>
                <a:lnTo>
                  <a:pt x="1472" y="185"/>
                </a:lnTo>
                <a:lnTo>
                  <a:pt x="1492" y="118"/>
                </a:lnTo>
                <a:lnTo>
                  <a:pt x="1511" y="64"/>
                </a:lnTo>
                <a:lnTo>
                  <a:pt x="1545" y="0"/>
                </a:lnTo>
                <a:lnTo>
                  <a:pt x="1472" y="26"/>
                </a:lnTo>
                <a:lnTo>
                  <a:pt x="1398" y="48"/>
                </a:lnTo>
                <a:lnTo>
                  <a:pt x="1315" y="65"/>
                </a:lnTo>
                <a:lnTo>
                  <a:pt x="1242" y="76"/>
                </a:lnTo>
                <a:lnTo>
                  <a:pt x="1200" y="80"/>
                </a:lnTo>
                <a:lnTo>
                  <a:pt x="1140" y="76"/>
                </a:lnTo>
                <a:lnTo>
                  <a:pt x="1240" y="167"/>
                </a:lnTo>
                <a:lnTo>
                  <a:pt x="1196" y="211"/>
                </a:lnTo>
                <a:lnTo>
                  <a:pt x="1146" y="249"/>
                </a:lnTo>
                <a:lnTo>
                  <a:pt x="1090" y="291"/>
                </a:lnTo>
                <a:lnTo>
                  <a:pt x="1023" y="331"/>
                </a:lnTo>
                <a:lnTo>
                  <a:pt x="950" y="372"/>
                </a:lnTo>
                <a:lnTo>
                  <a:pt x="882" y="406"/>
                </a:lnTo>
                <a:lnTo>
                  <a:pt x="784" y="450"/>
                </a:lnTo>
                <a:lnTo>
                  <a:pt x="698" y="481"/>
                </a:lnTo>
                <a:lnTo>
                  <a:pt x="620" y="510"/>
                </a:lnTo>
                <a:lnTo>
                  <a:pt x="533" y="536"/>
                </a:lnTo>
                <a:lnTo>
                  <a:pt x="455" y="557"/>
                </a:lnTo>
                <a:lnTo>
                  <a:pt x="398" y="569"/>
                </a:lnTo>
                <a:lnTo>
                  <a:pt x="278" y="586"/>
                </a:lnTo>
                <a:lnTo>
                  <a:pt x="244" y="590"/>
                </a:lnTo>
                <a:lnTo>
                  <a:pt x="209" y="592"/>
                </a:lnTo>
                <a:lnTo>
                  <a:pt x="178" y="594"/>
                </a:lnTo>
                <a:lnTo>
                  <a:pt x="147" y="594"/>
                </a:lnTo>
                <a:lnTo>
                  <a:pt x="114" y="596"/>
                </a:lnTo>
                <a:lnTo>
                  <a:pt x="76" y="597"/>
                </a:lnTo>
                <a:lnTo>
                  <a:pt x="41" y="597"/>
                </a:lnTo>
                <a:lnTo>
                  <a:pt x="0" y="594"/>
                </a:lnTo>
              </a:path>
            </a:pathLst>
          </a:custGeom>
          <a:solidFill>
            <a:schemeClr val="bg2"/>
          </a:solidFill>
          <a:ln w="19050" cap="rnd" cmpd="sng">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endParaRPr lang="de-DE" dirty="0">
              <a:solidFill>
                <a:prstClr val="black"/>
              </a:solidFill>
              <a:latin typeface="BMWTypeRegular"/>
            </a:endParaRPr>
          </a:p>
        </p:txBody>
      </p:sp>
      <p:pic>
        <p:nvPicPr>
          <p:cNvPr id="48" name="Picture 10" descr="Businessmen shaking hands"/>
          <p:cNvPicPr>
            <a:picLocks noChangeAspect="1" noChangeArrowheads="1"/>
          </p:cNvPicPr>
          <p:nvPr/>
        </p:nvPicPr>
        <p:blipFill>
          <a:blip r:embed="rId4" cstate="print">
            <a:extLst>
              <a:ext uri="{BEBA8EAE-BF5A-486C-A8C5-ECC9F3942E4B}">
                <a14:imgProps xmlns="" xmlns:a14="http://schemas.microsoft.com/office/drawing/2010/main">
                  <a14:imgLayer r:embed="rId8">
                    <a14:imgEffect>
                      <a14:backgroundRemoval t="2804" b="89720" l="1875" r="90000"/>
                    </a14:imgEffect>
                  </a14:imgLayer>
                </a14:imgProps>
              </a:ext>
              <a:ext uri="{28A0092B-C50C-407E-A947-70E740481C1C}">
                <a14:useLocalDpi xmlns="" xmlns:a14="http://schemas.microsoft.com/office/drawing/2010/main" val="0"/>
              </a:ext>
            </a:extLst>
          </a:blip>
          <a:srcRect/>
          <a:stretch>
            <a:fillRect/>
          </a:stretch>
        </p:blipFill>
        <p:spPr bwMode="auto">
          <a:xfrm>
            <a:off x="2248694" y="4794224"/>
            <a:ext cx="966244" cy="646176"/>
          </a:xfrm>
          <a:prstGeom prst="rect">
            <a:avLst/>
          </a:prstGeom>
          <a:noFill/>
          <a:extLst>
            <a:ext uri="{909E8E84-426E-40DD-AFC4-6F175D3DCCD1}">
              <a14:hiddenFill xmlns="" xmlns:a14="http://schemas.microsoft.com/office/drawing/2010/main">
                <a:solidFill>
                  <a:srgbClr val="FFFFFF"/>
                </a:solidFill>
              </a14:hiddenFill>
            </a:ext>
          </a:extLst>
        </p:spPr>
      </p:pic>
      <p:sp>
        <p:nvSpPr>
          <p:cNvPr id="64" name="Freeform 24"/>
          <p:cNvSpPr>
            <a:spLocks/>
          </p:cNvSpPr>
          <p:nvPr/>
        </p:nvSpPr>
        <p:spPr bwMode="auto">
          <a:xfrm rot="6166212" flipV="1">
            <a:off x="5621026" y="4785311"/>
            <a:ext cx="1127102" cy="914832"/>
          </a:xfrm>
          <a:custGeom>
            <a:avLst/>
            <a:gdLst/>
            <a:ahLst/>
            <a:cxnLst>
              <a:cxn ang="0">
                <a:pos x="0" y="594"/>
              </a:cxn>
              <a:cxn ang="0">
                <a:pos x="85" y="620"/>
              </a:cxn>
              <a:cxn ang="0">
                <a:pos x="119" y="627"/>
              </a:cxn>
              <a:cxn ang="0">
                <a:pos x="164" y="633"/>
              </a:cxn>
              <a:cxn ang="0">
                <a:pos x="223" y="638"/>
              </a:cxn>
              <a:cxn ang="0">
                <a:pos x="345" y="640"/>
              </a:cxn>
              <a:cxn ang="0">
                <a:pos x="408" y="639"/>
              </a:cxn>
              <a:cxn ang="0">
                <a:pos x="526" y="630"/>
              </a:cxn>
              <a:cxn ang="0">
                <a:pos x="607" y="618"/>
              </a:cxn>
              <a:cxn ang="0">
                <a:pos x="686" y="603"/>
              </a:cxn>
              <a:cxn ang="0">
                <a:pos x="770" y="584"/>
              </a:cxn>
              <a:cxn ang="0">
                <a:pos x="853" y="560"/>
              </a:cxn>
              <a:cxn ang="0">
                <a:pos x="917" y="540"/>
              </a:cxn>
              <a:cxn ang="0">
                <a:pos x="1002" y="505"/>
              </a:cxn>
              <a:cxn ang="0">
                <a:pos x="1066" y="476"/>
              </a:cxn>
              <a:cxn ang="0">
                <a:pos x="1132" y="441"/>
              </a:cxn>
              <a:cxn ang="0">
                <a:pos x="1202" y="402"/>
              </a:cxn>
              <a:cxn ang="0">
                <a:pos x="1237" y="377"/>
              </a:cxn>
              <a:cxn ang="0">
                <a:pos x="1277" y="346"/>
              </a:cxn>
              <a:cxn ang="0">
                <a:pos x="1310" y="317"/>
              </a:cxn>
              <a:cxn ang="0">
                <a:pos x="1335" y="290"/>
              </a:cxn>
              <a:cxn ang="0">
                <a:pos x="1360" y="268"/>
              </a:cxn>
              <a:cxn ang="0">
                <a:pos x="1456" y="358"/>
              </a:cxn>
              <a:cxn ang="0">
                <a:pos x="1456" y="306"/>
              </a:cxn>
              <a:cxn ang="0">
                <a:pos x="1462" y="246"/>
              </a:cxn>
              <a:cxn ang="0">
                <a:pos x="1472" y="185"/>
              </a:cxn>
              <a:cxn ang="0">
                <a:pos x="1492" y="118"/>
              </a:cxn>
              <a:cxn ang="0">
                <a:pos x="1511" y="64"/>
              </a:cxn>
              <a:cxn ang="0">
                <a:pos x="1545" y="0"/>
              </a:cxn>
              <a:cxn ang="0">
                <a:pos x="1472" y="26"/>
              </a:cxn>
              <a:cxn ang="0">
                <a:pos x="1398" y="48"/>
              </a:cxn>
              <a:cxn ang="0">
                <a:pos x="1315" y="65"/>
              </a:cxn>
              <a:cxn ang="0">
                <a:pos x="1242" y="76"/>
              </a:cxn>
              <a:cxn ang="0">
                <a:pos x="1200" y="80"/>
              </a:cxn>
              <a:cxn ang="0">
                <a:pos x="1140" y="76"/>
              </a:cxn>
              <a:cxn ang="0">
                <a:pos x="1240" y="167"/>
              </a:cxn>
              <a:cxn ang="0">
                <a:pos x="1196" y="211"/>
              </a:cxn>
              <a:cxn ang="0">
                <a:pos x="1146" y="249"/>
              </a:cxn>
              <a:cxn ang="0">
                <a:pos x="1090" y="291"/>
              </a:cxn>
              <a:cxn ang="0">
                <a:pos x="1023" y="331"/>
              </a:cxn>
              <a:cxn ang="0">
                <a:pos x="950" y="372"/>
              </a:cxn>
              <a:cxn ang="0">
                <a:pos x="882" y="406"/>
              </a:cxn>
              <a:cxn ang="0">
                <a:pos x="784" y="450"/>
              </a:cxn>
              <a:cxn ang="0">
                <a:pos x="698" y="481"/>
              </a:cxn>
              <a:cxn ang="0">
                <a:pos x="620" y="510"/>
              </a:cxn>
              <a:cxn ang="0">
                <a:pos x="533" y="536"/>
              </a:cxn>
              <a:cxn ang="0">
                <a:pos x="455" y="557"/>
              </a:cxn>
              <a:cxn ang="0">
                <a:pos x="398" y="569"/>
              </a:cxn>
              <a:cxn ang="0">
                <a:pos x="278" y="586"/>
              </a:cxn>
              <a:cxn ang="0">
                <a:pos x="244" y="590"/>
              </a:cxn>
              <a:cxn ang="0">
                <a:pos x="209" y="592"/>
              </a:cxn>
              <a:cxn ang="0">
                <a:pos x="178" y="594"/>
              </a:cxn>
              <a:cxn ang="0">
                <a:pos x="147" y="594"/>
              </a:cxn>
              <a:cxn ang="0">
                <a:pos x="114" y="596"/>
              </a:cxn>
              <a:cxn ang="0">
                <a:pos x="76" y="597"/>
              </a:cxn>
              <a:cxn ang="0">
                <a:pos x="41" y="597"/>
              </a:cxn>
              <a:cxn ang="0">
                <a:pos x="0" y="594"/>
              </a:cxn>
            </a:cxnLst>
            <a:rect l="0" t="0" r="r" b="b"/>
            <a:pathLst>
              <a:path w="1545" h="640">
                <a:moveTo>
                  <a:pt x="0" y="594"/>
                </a:moveTo>
                <a:lnTo>
                  <a:pt x="85" y="620"/>
                </a:lnTo>
                <a:lnTo>
                  <a:pt x="119" y="627"/>
                </a:lnTo>
                <a:lnTo>
                  <a:pt x="164" y="633"/>
                </a:lnTo>
                <a:lnTo>
                  <a:pt x="223" y="638"/>
                </a:lnTo>
                <a:lnTo>
                  <a:pt x="345" y="640"/>
                </a:lnTo>
                <a:lnTo>
                  <a:pt x="408" y="639"/>
                </a:lnTo>
                <a:lnTo>
                  <a:pt x="526" y="630"/>
                </a:lnTo>
                <a:lnTo>
                  <a:pt x="607" y="618"/>
                </a:lnTo>
                <a:lnTo>
                  <a:pt x="686" y="603"/>
                </a:lnTo>
                <a:lnTo>
                  <a:pt x="770" y="584"/>
                </a:lnTo>
                <a:lnTo>
                  <a:pt x="853" y="560"/>
                </a:lnTo>
                <a:lnTo>
                  <a:pt x="917" y="540"/>
                </a:lnTo>
                <a:lnTo>
                  <a:pt x="1002" y="505"/>
                </a:lnTo>
                <a:lnTo>
                  <a:pt x="1066" y="476"/>
                </a:lnTo>
                <a:lnTo>
                  <a:pt x="1132" y="441"/>
                </a:lnTo>
                <a:lnTo>
                  <a:pt x="1202" y="402"/>
                </a:lnTo>
                <a:lnTo>
                  <a:pt x="1237" y="377"/>
                </a:lnTo>
                <a:lnTo>
                  <a:pt x="1277" y="346"/>
                </a:lnTo>
                <a:lnTo>
                  <a:pt x="1310" y="317"/>
                </a:lnTo>
                <a:lnTo>
                  <a:pt x="1335" y="290"/>
                </a:lnTo>
                <a:lnTo>
                  <a:pt x="1360" y="268"/>
                </a:lnTo>
                <a:lnTo>
                  <a:pt x="1456" y="358"/>
                </a:lnTo>
                <a:lnTo>
                  <a:pt x="1456" y="306"/>
                </a:lnTo>
                <a:lnTo>
                  <a:pt x="1462" y="246"/>
                </a:lnTo>
                <a:lnTo>
                  <a:pt x="1472" y="185"/>
                </a:lnTo>
                <a:lnTo>
                  <a:pt x="1492" y="118"/>
                </a:lnTo>
                <a:lnTo>
                  <a:pt x="1511" y="64"/>
                </a:lnTo>
                <a:lnTo>
                  <a:pt x="1545" y="0"/>
                </a:lnTo>
                <a:lnTo>
                  <a:pt x="1472" y="26"/>
                </a:lnTo>
                <a:lnTo>
                  <a:pt x="1398" y="48"/>
                </a:lnTo>
                <a:lnTo>
                  <a:pt x="1315" y="65"/>
                </a:lnTo>
                <a:lnTo>
                  <a:pt x="1242" y="76"/>
                </a:lnTo>
                <a:lnTo>
                  <a:pt x="1200" y="80"/>
                </a:lnTo>
                <a:lnTo>
                  <a:pt x="1140" y="76"/>
                </a:lnTo>
                <a:lnTo>
                  <a:pt x="1240" y="167"/>
                </a:lnTo>
                <a:lnTo>
                  <a:pt x="1196" y="211"/>
                </a:lnTo>
                <a:lnTo>
                  <a:pt x="1146" y="249"/>
                </a:lnTo>
                <a:lnTo>
                  <a:pt x="1090" y="291"/>
                </a:lnTo>
                <a:lnTo>
                  <a:pt x="1023" y="331"/>
                </a:lnTo>
                <a:lnTo>
                  <a:pt x="950" y="372"/>
                </a:lnTo>
                <a:lnTo>
                  <a:pt x="882" y="406"/>
                </a:lnTo>
                <a:lnTo>
                  <a:pt x="784" y="450"/>
                </a:lnTo>
                <a:lnTo>
                  <a:pt x="698" y="481"/>
                </a:lnTo>
                <a:lnTo>
                  <a:pt x="620" y="510"/>
                </a:lnTo>
                <a:lnTo>
                  <a:pt x="533" y="536"/>
                </a:lnTo>
                <a:lnTo>
                  <a:pt x="455" y="557"/>
                </a:lnTo>
                <a:lnTo>
                  <a:pt x="398" y="569"/>
                </a:lnTo>
                <a:lnTo>
                  <a:pt x="278" y="586"/>
                </a:lnTo>
                <a:lnTo>
                  <a:pt x="244" y="590"/>
                </a:lnTo>
                <a:lnTo>
                  <a:pt x="209" y="592"/>
                </a:lnTo>
                <a:lnTo>
                  <a:pt x="178" y="594"/>
                </a:lnTo>
                <a:lnTo>
                  <a:pt x="147" y="594"/>
                </a:lnTo>
                <a:lnTo>
                  <a:pt x="114" y="596"/>
                </a:lnTo>
                <a:lnTo>
                  <a:pt x="76" y="597"/>
                </a:lnTo>
                <a:lnTo>
                  <a:pt x="41" y="597"/>
                </a:lnTo>
                <a:lnTo>
                  <a:pt x="0" y="594"/>
                </a:lnTo>
              </a:path>
            </a:pathLst>
          </a:custGeom>
          <a:solidFill>
            <a:schemeClr val="bg2"/>
          </a:solidFill>
          <a:ln w="19050" cap="rnd" cmpd="sng">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endParaRPr lang="de-DE" dirty="0">
              <a:solidFill>
                <a:prstClr val="black"/>
              </a:solidFill>
              <a:latin typeface="BMWTypeRegular"/>
            </a:endParaRPr>
          </a:p>
        </p:txBody>
      </p:sp>
      <p:pic>
        <p:nvPicPr>
          <p:cNvPr id="56" name="Picture 10" descr="Businessmen shaking hands"/>
          <p:cNvPicPr>
            <a:picLocks noChangeAspect="1" noChangeArrowheads="1"/>
          </p:cNvPicPr>
          <p:nvPr/>
        </p:nvPicPr>
        <p:blipFill>
          <a:blip r:embed="rId4" cstate="print">
            <a:extLst>
              <a:ext uri="{BEBA8EAE-BF5A-486C-A8C5-ECC9F3942E4B}">
                <a14:imgProps xmlns="" xmlns:a14="http://schemas.microsoft.com/office/drawing/2010/main">
                  <a14:imgLayer r:embed="rId8">
                    <a14:imgEffect>
                      <a14:backgroundRemoval t="2804" b="89720" l="1875" r="90000"/>
                    </a14:imgEffect>
                  </a14:imgLayer>
                </a14:imgProps>
              </a:ext>
              <a:ext uri="{28A0092B-C50C-407E-A947-70E740481C1C}">
                <a14:useLocalDpi xmlns="" xmlns:a14="http://schemas.microsoft.com/office/drawing/2010/main" val="0"/>
              </a:ext>
            </a:extLst>
          </a:blip>
          <a:srcRect/>
          <a:stretch>
            <a:fillRect/>
          </a:stretch>
        </p:blipFill>
        <p:spPr bwMode="auto">
          <a:xfrm>
            <a:off x="5910012" y="4971755"/>
            <a:ext cx="966244" cy="646176"/>
          </a:xfrm>
          <a:prstGeom prst="rect">
            <a:avLst/>
          </a:prstGeom>
          <a:noFill/>
          <a:extLst>
            <a:ext uri="{909E8E84-426E-40DD-AFC4-6F175D3DCCD1}">
              <a14:hiddenFill xmlns="" xmlns:a14="http://schemas.microsoft.com/office/drawing/2010/main">
                <a:solidFill>
                  <a:srgbClr val="FFFFFF"/>
                </a:solidFill>
              </a14:hiddenFill>
            </a:ext>
          </a:extLst>
        </p:spPr>
      </p:pic>
      <p:sp>
        <p:nvSpPr>
          <p:cNvPr id="65" name="Freeform 24"/>
          <p:cNvSpPr>
            <a:spLocks/>
          </p:cNvSpPr>
          <p:nvPr/>
        </p:nvSpPr>
        <p:spPr bwMode="auto">
          <a:xfrm rot="20283096" flipH="1" flipV="1">
            <a:off x="2292508" y="2554377"/>
            <a:ext cx="1418290" cy="864000"/>
          </a:xfrm>
          <a:custGeom>
            <a:avLst/>
            <a:gdLst/>
            <a:ahLst/>
            <a:cxnLst>
              <a:cxn ang="0">
                <a:pos x="0" y="594"/>
              </a:cxn>
              <a:cxn ang="0">
                <a:pos x="85" y="620"/>
              </a:cxn>
              <a:cxn ang="0">
                <a:pos x="119" y="627"/>
              </a:cxn>
              <a:cxn ang="0">
                <a:pos x="164" y="633"/>
              </a:cxn>
              <a:cxn ang="0">
                <a:pos x="223" y="638"/>
              </a:cxn>
              <a:cxn ang="0">
                <a:pos x="345" y="640"/>
              </a:cxn>
              <a:cxn ang="0">
                <a:pos x="408" y="639"/>
              </a:cxn>
              <a:cxn ang="0">
                <a:pos x="526" y="630"/>
              </a:cxn>
              <a:cxn ang="0">
                <a:pos x="607" y="618"/>
              </a:cxn>
              <a:cxn ang="0">
                <a:pos x="686" y="603"/>
              </a:cxn>
              <a:cxn ang="0">
                <a:pos x="770" y="584"/>
              </a:cxn>
              <a:cxn ang="0">
                <a:pos x="853" y="560"/>
              </a:cxn>
              <a:cxn ang="0">
                <a:pos x="917" y="540"/>
              </a:cxn>
              <a:cxn ang="0">
                <a:pos x="1002" y="505"/>
              </a:cxn>
              <a:cxn ang="0">
                <a:pos x="1066" y="476"/>
              </a:cxn>
              <a:cxn ang="0">
                <a:pos x="1132" y="441"/>
              </a:cxn>
              <a:cxn ang="0">
                <a:pos x="1202" y="402"/>
              </a:cxn>
              <a:cxn ang="0">
                <a:pos x="1237" y="377"/>
              </a:cxn>
              <a:cxn ang="0">
                <a:pos x="1277" y="346"/>
              </a:cxn>
              <a:cxn ang="0">
                <a:pos x="1310" y="317"/>
              </a:cxn>
              <a:cxn ang="0">
                <a:pos x="1335" y="290"/>
              </a:cxn>
              <a:cxn ang="0">
                <a:pos x="1360" y="268"/>
              </a:cxn>
              <a:cxn ang="0">
                <a:pos x="1456" y="358"/>
              </a:cxn>
              <a:cxn ang="0">
                <a:pos x="1456" y="306"/>
              </a:cxn>
              <a:cxn ang="0">
                <a:pos x="1462" y="246"/>
              </a:cxn>
              <a:cxn ang="0">
                <a:pos x="1472" y="185"/>
              </a:cxn>
              <a:cxn ang="0">
                <a:pos x="1492" y="118"/>
              </a:cxn>
              <a:cxn ang="0">
                <a:pos x="1511" y="64"/>
              </a:cxn>
              <a:cxn ang="0">
                <a:pos x="1545" y="0"/>
              </a:cxn>
              <a:cxn ang="0">
                <a:pos x="1472" y="26"/>
              </a:cxn>
              <a:cxn ang="0">
                <a:pos x="1398" y="48"/>
              </a:cxn>
              <a:cxn ang="0">
                <a:pos x="1315" y="65"/>
              </a:cxn>
              <a:cxn ang="0">
                <a:pos x="1242" y="76"/>
              </a:cxn>
              <a:cxn ang="0">
                <a:pos x="1200" y="80"/>
              </a:cxn>
              <a:cxn ang="0">
                <a:pos x="1140" y="76"/>
              </a:cxn>
              <a:cxn ang="0">
                <a:pos x="1240" y="167"/>
              </a:cxn>
              <a:cxn ang="0">
                <a:pos x="1196" y="211"/>
              </a:cxn>
              <a:cxn ang="0">
                <a:pos x="1146" y="249"/>
              </a:cxn>
              <a:cxn ang="0">
                <a:pos x="1090" y="291"/>
              </a:cxn>
              <a:cxn ang="0">
                <a:pos x="1023" y="331"/>
              </a:cxn>
              <a:cxn ang="0">
                <a:pos x="950" y="372"/>
              </a:cxn>
              <a:cxn ang="0">
                <a:pos x="882" y="406"/>
              </a:cxn>
              <a:cxn ang="0">
                <a:pos x="784" y="450"/>
              </a:cxn>
              <a:cxn ang="0">
                <a:pos x="698" y="481"/>
              </a:cxn>
              <a:cxn ang="0">
                <a:pos x="620" y="510"/>
              </a:cxn>
              <a:cxn ang="0">
                <a:pos x="533" y="536"/>
              </a:cxn>
              <a:cxn ang="0">
                <a:pos x="455" y="557"/>
              </a:cxn>
              <a:cxn ang="0">
                <a:pos x="398" y="569"/>
              </a:cxn>
              <a:cxn ang="0">
                <a:pos x="278" y="586"/>
              </a:cxn>
              <a:cxn ang="0">
                <a:pos x="244" y="590"/>
              </a:cxn>
              <a:cxn ang="0">
                <a:pos x="209" y="592"/>
              </a:cxn>
              <a:cxn ang="0">
                <a:pos x="178" y="594"/>
              </a:cxn>
              <a:cxn ang="0">
                <a:pos x="147" y="594"/>
              </a:cxn>
              <a:cxn ang="0">
                <a:pos x="114" y="596"/>
              </a:cxn>
              <a:cxn ang="0">
                <a:pos x="76" y="597"/>
              </a:cxn>
              <a:cxn ang="0">
                <a:pos x="41" y="597"/>
              </a:cxn>
              <a:cxn ang="0">
                <a:pos x="0" y="594"/>
              </a:cxn>
            </a:cxnLst>
            <a:rect l="0" t="0" r="r" b="b"/>
            <a:pathLst>
              <a:path w="1545" h="640">
                <a:moveTo>
                  <a:pt x="0" y="594"/>
                </a:moveTo>
                <a:lnTo>
                  <a:pt x="85" y="620"/>
                </a:lnTo>
                <a:lnTo>
                  <a:pt x="119" y="627"/>
                </a:lnTo>
                <a:lnTo>
                  <a:pt x="164" y="633"/>
                </a:lnTo>
                <a:lnTo>
                  <a:pt x="223" y="638"/>
                </a:lnTo>
                <a:lnTo>
                  <a:pt x="345" y="640"/>
                </a:lnTo>
                <a:lnTo>
                  <a:pt x="408" y="639"/>
                </a:lnTo>
                <a:lnTo>
                  <a:pt x="526" y="630"/>
                </a:lnTo>
                <a:lnTo>
                  <a:pt x="607" y="618"/>
                </a:lnTo>
                <a:lnTo>
                  <a:pt x="686" y="603"/>
                </a:lnTo>
                <a:lnTo>
                  <a:pt x="770" y="584"/>
                </a:lnTo>
                <a:lnTo>
                  <a:pt x="853" y="560"/>
                </a:lnTo>
                <a:lnTo>
                  <a:pt x="917" y="540"/>
                </a:lnTo>
                <a:lnTo>
                  <a:pt x="1002" y="505"/>
                </a:lnTo>
                <a:lnTo>
                  <a:pt x="1066" y="476"/>
                </a:lnTo>
                <a:lnTo>
                  <a:pt x="1132" y="441"/>
                </a:lnTo>
                <a:lnTo>
                  <a:pt x="1202" y="402"/>
                </a:lnTo>
                <a:lnTo>
                  <a:pt x="1237" y="377"/>
                </a:lnTo>
                <a:lnTo>
                  <a:pt x="1277" y="346"/>
                </a:lnTo>
                <a:lnTo>
                  <a:pt x="1310" y="317"/>
                </a:lnTo>
                <a:lnTo>
                  <a:pt x="1335" y="290"/>
                </a:lnTo>
                <a:lnTo>
                  <a:pt x="1360" y="268"/>
                </a:lnTo>
                <a:lnTo>
                  <a:pt x="1456" y="358"/>
                </a:lnTo>
                <a:lnTo>
                  <a:pt x="1456" y="306"/>
                </a:lnTo>
                <a:lnTo>
                  <a:pt x="1462" y="246"/>
                </a:lnTo>
                <a:lnTo>
                  <a:pt x="1472" y="185"/>
                </a:lnTo>
                <a:lnTo>
                  <a:pt x="1492" y="118"/>
                </a:lnTo>
                <a:lnTo>
                  <a:pt x="1511" y="64"/>
                </a:lnTo>
                <a:lnTo>
                  <a:pt x="1545" y="0"/>
                </a:lnTo>
                <a:lnTo>
                  <a:pt x="1472" y="26"/>
                </a:lnTo>
                <a:lnTo>
                  <a:pt x="1398" y="48"/>
                </a:lnTo>
                <a:lnTo>
                  <a:pt x="1315" y="65"/>
                </a:lnTo>
                <a:lnTo>
                  <a:pt x="1242" y="76"/>
                </a:lnTo>
                <a:lnTo>
                  <a:pt x="1200" y="80"/>
                </a:lnTo>
                <a:lnTo>
                  <a:pt x="1140" y="76"/>
                </a:lnTo>
                <a:lnTo>
                  <a:pt x="1240" y="167"/>
                </a:lnTo>
                <a:lnTo>
                  <a:pt x="1196" y="211"/>
                </a:lnTo>
                <a:lnTo>
                  <a:pt x="1146" y="249"/>
                </a:lnTo>
                <a:lnTo>
                  <a:pt x="1090" y="291"/>
                </a:lnTo>
                <a:lnTo>
                  <a:pt x="1023" y="331"/>
                </a:lnTo>
                <a:lnTo>
                  <a:pt x="950" y="372"/>
                </a:lnTo>
                <a:lnTo>
                  <a:pt x="882" y="406"/>
                </a:lnTo>
                <a:lnTo>
                  <a:pt x="784" y="450"/>
                </a:lnTo>
                <a:lnTo>
                  <a:pt x="698" y="481"/>
                </a:lnTo>
                <a:lnTo>
                  <a:pt x="620" y="510"/>
                </a:lnTo>
                <a:lnTo>
                  <a:pt x="533" y="536"/>
                </a:lnTo>
                <a:lnTo>
                  <a:pt x="455" y="557"/>
                </a:lnTo>
                <a:lnTo>
                  <a:pt x="398" y="569"/>
                </a:lnTo>
                <a:lnTo>
                  <a:pt x="278" y="586"/>
                </a:lnTo>
                <a:lnTo>
                  <a:pt x="244" y="590"/>
                </a:lnTo>
                <a:lnTo>
                  <a:pt x="209" y="592"/>
                </a:lnTo>
                <a:lnTo>
                  <a:pt x="178" y="594"/>
                </a:lnTo>
                <a:lnTo>
                  <a:pt x="147" y="594"/>
                </a:lnTo>
                <a:lnTo>
                  <a:pt x="114" y="596"/>
                </a:lnTo>
                <a:lnTo>
                  <a:pt x="76" y="597"/>
                </a:lnTo>
                <a:lnTo>
                  <a:pt x="41" y="597"/>
                </a:lnTo>
                <a:lnTo>
                  <a:pt x="0" y="594"/>
                </a:lnTo>
              </a:path>
            </a:pathLst>
          </a:custGeom>
          <a:solidFill>
            <a:schemeClr val="bg2"/>
          </a:solidFill>
          <a:ln w="19050" cap="rnd" cmpd="sng">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endParaRPr lang="de-DE" dirty="0">
              <a:solidFill>
                <a:prstClr val="black"/>
              </a:solidFill>
              <a:latin typeface="BMWTypeRegular"/>
            </a:endParaRPr>
          </a:p>
        </p:txBody>
      </p:sp>
      <p:pic>
        <p:nvPicPr>
          <p:cNvPr id="53258" name="Picture 10" descr="Businessmen shaking hands"/>
          <p:cNvPicPr>
            <a:picLocks noChangeAspect="1" noChangeArrowheads="1"/>
          </p:cNvPicPr>
          <p:nvPr/>
        </p:nvPicPr>
        <p:blipFill>
          <a:blip r:embed="rId4" cstate="print">
            <a:extLst>
              <a:ext uri="{BEBA8EAE-BF5A-486C-A8C5-ECC9F3942E4B}">
                <a14:imgProps xmlns="" xmlns:a14="http://schemas.microsoft.com/office/drawing/2010/main">
                  <a14:imgLayer r:embed="rId8">
                    <a14:imgEffect>
                      <a14:backgroundRemoval t="2804" b="89720" l="1875" r="90000"/>
                    </a14:imgEffect>
                  </a14:imgLayer>
                </a14:imgProps>
              </a:ext>
              <a:ext uri="{28A0092B-C50C-407E-A947-70E740481C1C}">
                <a14:useLocalDpi xmlns="" xmlns:a14="http://schemas.microsoft.com/office/drawing/2010/main" val="0"/>
              </a:ext>
            </a:extLst>
          </a:blip>
          <a:srcRect/>
          <a:stretch>
            <a:fillRect/>
          </a:stretch>
        </p:blipFill>
        <p:spPr bwMode="auto">
          <a:xfrm>
            <a:off x="2187284" y="2512641"/>
            <a:ext cx="966244" cy="646176"/>
          </a:xfrm>
          <a:prstGeom prst="rect">
            <a:avLst/>
          </a:prstGeom>
          <a:noFill/>
          <a:extLst>
            <a:ext uri="{909E8E84-426E-40DD-AFC4-6F175D3DCCD1}">
              <a14:hiddenFill xmlns="" xmlns:a14="http://schemas.microsoft.com/office/drawing/2010/main">
                <a:solidFill>
                  <a:srgbClr val="FFFFFF"/>
                </a:solidFill>
              </a14:hiddenFill>
            </a:ext>
          </a:extLst>
        </p:spPr>
      </p:pic>
      <p:sp>
        <p:nvSpPr>
          <p:cNvPr id="66" name="Freeform 24"/>
          <p:cNvSpPr>
            <a:spLocks/>
          </p:cNvSpPr>
          <p:nvPr/>
        </p:nvSpPr>
        <p:spPr bwMode="auto">
          <a:xfrm rot="632628" flipV="1">
            <a:off x="5575643" y="2362066"/>
            <a:ext cx="1192668" cy="792286"/>
          </a:xfrm>
          <a:custGeom>
            <a:avLst/>
            <a:gdLst/>
            <a:ahLst/>
            <a:cxnLst>
              <a:cxn ang="0">
                <a:pos x="0" y="594"/>
              </a:cxn>
              <a:cxn ang="0">
                <a:pos x="85" y="620"/>
              </a:cxn>
              <a:cxn ang="0">
                <a:pos x="119" y="627"/>
              </a:cxn>
              <a:cxn ang="0">
                <a:pos x="164" y="633"/>
              </a:cxn>
              <a:cxn ang="0">
                <a:pos x="223" y="638"/>
              </a:cxn>
              <a:cxn ang="0">
                <a:pos x="345" y="640"/>
              </a:cxn>
              <a:cxn ang="0">
                <a:pos x="408" y="639"/>
              </a:cxn>
              <a:cxn ang="0">
                <a:pos x="526" y="630"/>
              </a:cxn>
              <a:cxn ang="0">
                <a:pos x="607" y="618"/>
              </a:cxn>
              <a:cxn ang="0">
                <a:pos x="686" y="603"/>
              </a:cxn>
              <a:cxn ang="0">
                <a:pos x="770" y="584"/>
              </a:cxn>
              <a:cxn ang="0">
                <a:pos x="853" y="560"/>
              </a:cxn>
              <a:cxn ang="0">
                <a:pos x="917" y="540"/>
              </a:cxn>
              <a:cxn ang="0">
                <a:pos x="1002" y="505"/>
              </a:cxn>
              <a:cxn ang="0">
                <a:pos x="1066" y="476"/>
              </a:cxn>
              <a:cxn ang="0">
                <a:pos x="1132" y="441"/>
              </a:cxn>
              <a:cxn ang="0">
                <a:pos x="1202" y="402"/>
              </a:cxn>
              <a:cxn ang="0">
                <a:pos x="1237" y="377"/>
              </a:cxn>
              <a:cxn ang="0">
                <a:pos x="1277" y="346"/>
              </a:cxn>
              <a:cxn ang="0">
                <a:pos x="1310" y="317"/>
              </a:cxn>
              <a:cxn ang="0">
                <a:pos x="1335" y="290"/>
              </a:cxn>
              <a:cxn ang="0">
                <a:pos x="1360" y="268"/>
              </a:cxn>
              <a:cxn ang="0">
                <a:pos x="1456" y="358"/>
              </a:cxn>
              <a:cxn ang="0">
                <a:pos x="1456" y="306"/>
              </a:cxn>
              <a:cxn ang="0">
                <a:pos x="1462" y="246"/>
              </a:cxn>
              <a:cxn ang="0">
                <a:pos x="1472" y="185"/>
              </a:cxn>
              <a:cxn ang="0">
                <a:pos x="1492" y="118"/>
              </a:cxn>
              <a:cxn ang="0">
                <a:pos x="1511" y="64"/>
              </a:cxn>
              <a:cxn ang="0">
                <a:pos x="1545" y="0"/>
              </a:cxn>
              <a:cxn ang="0">
                <a:pos x="1472" y="26"/>
              </a:cxn>
              <a:cxn ang="0">
                <a:pos x="1398" y="48"/>
              </a:cxn>
              <a:cxn ang="0">
                <a:pos x="1315" y="65"/>
              </a:cxn>
              <a:cxn ang="0">
                <a:pos x="1242" y="76"/>
              </a:cxn>
              <a:cxn ang="0">
                <a:pos x="1200" y="80"/>
              </a:cxn>
              <a:cxn ang="0">
                <a:pos x="1140" y="76"/>
              </a:cxn>
              <a:cxn ang="0">
                <a:pos x="1240" y="167"/>
              </a:cxn>
              <a:cxn ang="0">
                <a:pos x="1196" y="211"/>
              </a:cxn>
              <a:cxn ang="0">
                <a:pos x="1146" y="249"/>
              </a:cxn>
              <a:cxn ang="0">
                <a:pos x="1090" y="291"/>
              </a:cxn>
              <a:cxn ang="0">
                <a:pos x="1023" y="331"/>
              </a:cxn>
              <a:cxn ang="0">
                <a:pos x="950" y="372"/>
              </a:cxn>
              <a:cxn ang="0">
                <a:pos x="882" y="406"/>
              </a:cxn>
              <a:cxn ang="0">
                <a:pos x="784" y="450"/>
              </a:cxn>
              <a:cxn ang="0">
                <a:pos x="698" y="481"/>
              </a:cxn>
              <a:cxn ang="0">
                <a:pos x="620" y="510"/>
              </a:cxn>
              <a:cxn ang="0">
                <a:pos x="533" y="536"/>
              </a:cxn>
              <a:cxn ang="0">
                <a:pos x="455" y="557"/>
              </a:cxn>
              <a:cxn ang="0">
                <a:pos x="398" y="569"/>
              </a:cxn>
              <a:cxn ang="0">
                <a:pos x="278" y="586"/>
              </a:cxn>
              <a:cxn ang="0">
                <a:pos x="244" y="590"/>
              </a:cxn>
              <a:cxn ang="0">
                <a:pos x="209" y="592"/>
              </a:cxn>
              <a:cxn ang="0">
                <a:pos x="178" y="594"/>
              </a:cxn>
              <a:cxn ang="0">
                <a:pos x="147" y="594"/>
              </a:cxn>
              <a:cxn ang="0">
                <a:pos x="114" y="596"/>
              </a:cxn>
              <a:cxn ang="0">
                <a:pos x="76" y="597"/>
              </a:cxn>
              <a:cxn ang="0">
                <a:pos x="41" y="597"/>
              </a:cxn>
              <a:cxn ang="0">
                <a:pos x="0" y="594"/>
              </a:cxn>
            </a:cxnLst>
            <a:rect l="0" t="0" r="r" b="b"/>
            <a:pathLst>
              <a:path w="1545" h="640">
                <a:moveTo>
                  <a:pt x="0" y="594"/>
                </a:moveTo>
                <a:lnTo>
                  <a:pt x="85" y="620"/>
                </a:lnTo>
                <a:lnTo>
                  <a:pt x="119" y="627"/>
                </a:lnTo>
                <a:lnTo>
                  <a:pt x="164" y="633"/>
                </a:lnTo>
                <a:lnTo>
                  <a:pt x="223" y="638"/>
                </a:lnTo>
                <a:lnTo>
                  <a:pt x="345" y="640"/>
                </a:lnTo>
                <a:lnTo>
                  <a:pt x="408" y="639"/>
                </a:lnTo>
                <a:lnTo>
                  <a:pt x="526" y="630"/>
                </a:lnTo>
                <a:lnTo>
                  <a:pt x="607" y="618"/>
                </a:lnTo>
                <a:lnTo>
                  <a:pt x="686" y="603"/>
                </a:lnTo>
                <a:lnTo>
                  <a:pt x="770" y="584"/>
                </a:lnTo>
                <a:lnTo>
                  <a:pt x="853" y="560"/>
                </a:lnTo>
                <a:lnTo>
                  <a:pt x="917" y="540"/>
                </a:lnTo>
                <a:lnTo>
                  <a:pt x="1002" y="505"/>
                </a:lnTo>
                <a:lnTo>
                  <a:pt x="1066" y="476"/>
                </a:lnTo>
                <a:lnTo>
                  <a:pt x="1132" y="441"/>
                </a:lnTo>
                <a:lnTo>
                  <a:pt x="1202" y="402"/>
                </a:lnTo>
                <a:lnTo>
                  <a:pt x="1237" y="377"/>
                </a:lnTo>
                <a:lnTo>
                  <a:pt x="1277" y="346"/>
                </a:lnTo>
                <a:lnTo>
                  <a:pt x="1310" y="317"/>
                </a:lnTo>
                <a:lnTo>
                  <a:pt x="1335" y="290"/>
                </a:lnTo>
                <a:lnTo>
                  <a:pt x="1360" y="268"/>
                </a:lnTo>
                <a:lnTo>
                  <a:pt x="1456" y="358"/>
                </a:lnTo>
                <a:lnTo>
                  <a:pt x="1456" y="306"/>
                </a:lnTo>
                <a:lnTo>
                  <a:pt x="1462" y="246"/>
                </a:lnTo>
                <a:lnTo>
                  <a:pt x="1472" y="185"/>
                </a:lnTo>
                <a:lnTo>
                  <a:pt x="1492" y="118"/>
                </a:lnTo>
                <a:lnTo>
                  <a:pt x="1511" y="64"/>
                </a:lnTo>
                <a:lnTo>
                  <a:pt x="1545" y="0"/>
                </a:lnTo>
                <a:lnTo>
                  <a:pt x="1472" y="26"/>
                </a:lnTo>
                <a:lnTo>
                  <a:pt x="1398" y="48"/>
                </a:lnTo>
                <a:lnTo>
                  <a:pt x="1315" y="65"/>
                </a:lnTo>
                <a:lnTo>
                  <a:pt x="1242" y="76"/>
                </a:lnTo>
                <a:lnTo>
                  <a:pt x="1200" y="80"/>
                </a:lnTo>
                <a:lnTo>
                  <a:pt x="1140" y="76"/>
                </a:lnTo>
                <a:lnTo>
                  <a:pt x="1240" y="167"/>
                </a:lnTo>
                <a:lnTo>
                  <a:pt x="1196" y="211"/>
                </a:lnTo>
                <a:lnTo>
                  <a:pt x="1146" y="249"/>
                </a:lnTo>
                <a:lnTo>
                  <a:pt x="1090" y="291"/>
                </a:lnTo>
                <a:lnTo>
                  <a:pt x="1023" y="331"/>
                </a:lnTo>
                <a:lnTo>
                  <a:pt x="950" y="372"/>
                </a:lnTo>
                <a:lnTo>
                  <a:pt x="882" y="406"/>
                </a:lnTo>
                <a:lnTo>
                  <a:pt x="784" y="450"/>
                </a:lnTo>
                <a:lnTo>
                  <a:pt x="698" y="481"/>
                </a:lnTo>
                <a:lnTo>
                  <a:pt x="620" y="510"/>
                </a:lnTo>
                <a:lnTo>
                  <a:pt x="533" y="536"/>
                </a:lnTo>
                <a:lnTo>
                  <a:pt x="455" y="557"/>
                </a:lnTo>
                <a:lnTo>
                  <a:pt x="398" y="569"/>
                </a:lnTo>
                <a:lnTo>
                  <a:pt x="278" y="586"/>
                </a:lnTo>
                <a:lnTo>
                  <a:pt x="244" y="590"/>
                </a:lnTo>
                <a:lnTo>
                  <a:pt x="209" y="592"/>
                </a:lnTo>
                <a:lnTo>
                  <a:pt x="178" y="594"/>
                </a:lnTo>
                <a:lnTo>
                  <a:pt x="147" y="594"/>
                </a:lnTo>
                <a:lnTo>
                  <a:pt x="114" y="596"/>
                </a:lnTo>
                <a:lnTo>
                  <a:pt x="76" y="597"/>
                </a:lnTo>
                <a:lnTo>
                  <a:pt x="41" y="597"/>
                </a:lnTo>
                <a:lnTo>
                  <a:pt x="0" y="594"/>
                </a:lnTo>
              </a:path>
            </a:pathLst>
          </a:custGeom>
          <a:solidFill>
            <a:schemeClr val="bg2"/>
          </a:solidFill>
          <a:ln w="19050" cap="rnd" cmpd="sng">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endParaRPr lang="de-DE" dirty="0">
              <a:solidFill>
                <a:prstClr val="black"/>
              </a:solidFill>
              <a:latin typeface="BMWTypeRegular"/>
            </a:endParaRPr>
          </a:p>
        </p:txBody>
      </p:sp>
      <p:pic>
        <p:nvPicPr>
          <p:cNvPr id="54" name="Picture 10" descr="Businessmen shaking hands"/>
          <p:cNvPicPr>
            <a:picLocks noChangeAspect="1" noChangeArrowheads="1"/>
          </p:cNvPicPr>
          <p:nvPr/>
        </p:nvPicPr>
        <p:blipFill>
          <a:blip r:embed="rId4" cstate="print">
            <a:extLst>
              <a:ext uri="{BEBA8EAE-BF5A-486C-A8C5-ECC9F3942E4B}">
                <a14:imgProps xmlns="" xmlns:a14="http://schemas.microsoft.com/office/drawing/2010/main">
                  <a14:imgLayer r:embed="rId8">
                    <a14:imgEffect>
                      <a14:backgroundRemoval t="2804" b="89720" l="1875" r="90000"/>
                    </a14:imgEffect>
                  </a14:imgLayer>
                </a14:imgProps>
              </a:ext>
              <a:ext uri="{28A0092B-C50C-407E-A947-70E740481C1C}">
                <a14:useLocalDpi xmlns="" xmlns:a14="http://schemas.microsoft.com/office/drawing/2010/main" val="0"/>
              </a:ext>
            </a:extLst>
          </a:blip>
          <a:srcRect/>
          <a:stretch>
            <a:fillRect/>
          </a:stretch>
        </p:blipFill>
        <p:spPr bwMode="auto">
          <a:xfrm>
            <a:off x="5789002" y="2251622"/>
            <a:ext cx="966244" cy="646176"/>
          </a:xfrm>
          <a:prstGeom prst="rect">
            <a:avLst/>
          </a:prstGeom>
          <a:noFill/>
          <a:extLst>
            <a:ext uri="{909E8E84-426E-40DD-AFC4-6F175D3DCCD1}">
              <a14:hiddenFill xmlns="" xmlns:a14="http://schemas.microsoft.com/office/drawing/2010/main">
                <a:solidFill>
                  <a:srgbClr val="FFFFFF"/>
                </a:solidFill>
              </a14:hiddenFill>
            </a:ext>
          </a:extLst>
        </p:spPr>
      </p:pic>
      <p:sp>
        <p:nvSpPr>
          <p:cNvPr id="68" name="Freeform 24"/>
          <p:cNvSpPr>
            <a:spLocks/>
          </p:cNvSpPr>
          <p:nvPr/>
        </p:nvSpPr>
        <p:spPr bwMode="auto">
          <a:xfrm rot="2624986" flipV="1">
            <a:off x="6515790" y="3867201"/>
            <a:ext cx="361376" cy="288000"/>
          </a:xfrm>
          <a:custGeom>
            <a:avLst/>
            <a:gdLst>
              <a:gd name="connsiteX0" fmla="*/ 0 w 10000"/>
              <a:gd name="connsiteY0" fmla="*/ 9281 h 10000"/>
              <a:gd name="connsiteX1" fmla="*/ 550 w 10000"/>
              <a:gd name="connsiteY1" fmla="*/ 9688 h 10000"/>
              <a:gd name="connsiteX2" fmla="*/ 770 w 10000"/>
              <a:gd name="connsiteY2" fmla="*/ 9797 h 10000"/>
              <a:gd name="connsiteX3" fmla="*/ 1061 w 10000"/>
              <a:gd name="connsiteY3" fmla="*/ 9891 h 10000"/>
              <a:gd name="connsiteX4" fmla="*/ 1443 w 10000"/>
              <a:gd name="connsiteY4" fmla="*/ 9969 h 10000"/>
              <a:gd name="connsiteX5" fmla="*/ 2233 w 10000"/>
              <a:gd name="connsiteY5" fmla="*/ 10000 h 10000"/>
              <a:gd name="connsiteX6" fmla="*/ 2641 w 10000"/>
              <a:gd name="connsiteY6" fmla="*/ 9984 h 10000"/>
              <a:gd name="connsiteX7" fmla="*/ 3405 w 10000"/>
              <a:gd name="connsiteY7" fmla="*/ 9844 h 10000"/>
              <a:gd name="connsiteX8" fmla="*/ 3929 w 10000"/>
              <a:gd name="connsiteY8" fmla="*/ 9656 h 10000"/>
              <a:gd name="connsiteX9" fmla="*/ 4440 w 10000"/>
              <a:gd name="connsiteY9" fmla="*/ 9422 h 10000"/>
              <a:gd name="connsiteX10" fmla="*/ 4984 w 10000"/>
              <a:gd name="connsiteY10" fmla="*/ 9125 h 10000"/>
              <a:gd name="connsiteX11" fmla="*/ 5521 w 10000"/>
              <a:gd name="connsiteY11" fmla="*/ 8750 h 10000"/>
              <a:gd name="connsiteX12" fmla="*/ 5935 w 10000"/>
              <a:gd name="connsiteY12" fmla="*/ 8438 h 10000"/>
              <a:gd name="connsiteX13" fmla="*/ 6485 w 10000"/>
              <a:gd name="connsiteY13" fmla="*/ 7891 h 10000"/>
              <a:gd name="connsiteX14" fmla="*/ 6900 w 10000"/>
              <a:gd name="connsiteY14" fmla="*/ 7438 h 10000"/>
              <a:gd name="connsiteX15" fmla="*/ 7327 w 10000"/>
              <a:gd name="connsiteY15" fmla="*/ 6891 h 10000"/>
              <a:gd name="connsiteX16" fmla="*/ 7780 w 10000"/>
              <a:gd name="connsiteY16" fmla="*/ 6281 h 10000"/>
              <a:gd name="connsiteX17" fmla="*/ 8006 w 10000"/>
              <a:gd name="connsiteY17" fmla="*/ 5891 h 10000"/>
              <a:gd name="connsiteX18" fmla="*/ 8265 w 10000"/>
              <a:gd name="connsiteY18" fmla="*/ 5406 h 10000"/>
              <a:gd name="connsiteX19" fmla="*/ 8479 w 10000"/>
              <a:gd name="connsiteY19" fmla="*/ 4953 h 10000"/>
              <a:gd name="connsiteX20" fmla="*/ 8641 w 10000"/>
              <a:gd name="connsiteY20" fmla="*/ 4531 h 10000"/>
              <a:gd name="connsiteX21" fmla="*/ 8803 w 10000"/>
              <a:gd name="connsiteY21" fmla="*/ 4188 h 10000"/>
              <a:gd name="connsiteX22" fmla="*/ 9424 w 10000"/>
              <a:gd name="connsiteY22" fmla="*/ 5594 h 10000"/>
              <a:gd name="connsiteX23" fmla="*/ 9424 w 10000"/>
              <a:gd name="connsiteY23" fmla="*/ 4781 h 10000"/>
              <a:gd name="connsiteX24" fmla="*/ 9463 w 10000"/>
              <a:gd name="connsiteY24" fmla="*/ 3844 h 10000"/>
              <a:gd name="connsiteX25" fmla="*/ 9528 w 10000"/>
              <a:gd name="connsiteY25" fmla="*/ 2891 h 10000"/>
              <a:gd name="connsiteX26" fmla="*/ 9657 w 10000"/>
              <a:gd name="connsiteY26" fmla="*/ 1844 h 10000"/>
              <a:gd name="connsiteX27" fmla="*/ 9780 w 10000"/>
              <a:gd name="connsiteY27" fmla="*/ 1000 h 10000"/>
              <a:gd name="connsiteX28" fmla="*/ 10000 w 10000"/>
              <a:gd name="connsiteY28" fmla="*/ 0 h 10000"/>
              <a:gd name="connsiteX29" fmla="*/ 9528 w 10000"/>
              <a:gd name="connsiteY29" fmla="*/ 406 h 10000"/>
              <a:gd name="connsiteX30" fmla="*/ 9049 w 10000"/>
              <a:gd name="connsiteY30" fmla="*/ 750 h 10000"/>
              <a:gd name="connsiteX31" fmla="*/ 8511 w 10000"/>
              <a:gd name="connsiteY31" fmla="*/ 1016 h 10000"/>
              <a:gd name="connsiteX32" fmla="*/ 8039 w 10000"/>
              <a:gd name="connsiteY32" fmla="*/ 1188 h 10000"/>
              <a:gd name="connsiteX33" fmla="*/ 7767 w 10000"/>
              <a:gd name="connsiteY33" fmla="*/ 1250 h 10000"/>
              <a:gd name="connsiteX34" fmla="*/ 7178 w 10000"/>
              <a:gd name="connsiteY34" fmla="*/ 1499 h 10000"/>
              <a:gd name="connsiteX35" fmla="*/ 8026 w 10000"/>
              <a:gd name="connsiteY35" fmla="*/ 2609 h 10000"/>
              <a:gd name="connsiteX36" fmla="*/ 7741 w 10000"/>
              <a:gd name="connsiteY36" fmla="*/ 3297 h 10000"/>
              <a:gd name="connsiteX37" fmla="*/ 7417 w 10000"/>
              <a:gd name="connsiteY37" fmla="*/ 3891 h 10000"/>
              <a:gd name="connsiteX38" fmla="*/ 7055 w 10000"/>
              <a:gd name="connsiteY38" fmla="*/ 4547 h 10000"/>
              <a:gd name="connsiteX39" fmla="*/ 6621 w 10000"/>
              <a:gd name="connsiteY39" fmla="*/ 5172 h 10000"/>
              <a:gd name="connsiteX40" fmla="*/ 6149 w 10000"/>
              <a:gd name="connsiteY40" fmla="*/ 5813 h 10000"/>
              <a:gd name="connsiteX41" fmla="*/ 5709 w 10000"/>
              <a:gd name="connsiteY41" fmla="*/ 6344 h 10000"/>
              <a:gd name="connsiteX42" fmla="*/ 5074 w 10000"/>
              <a:gd name="connsiteY42" fmla="*/ 7031 h 10000"/>
              <a:gd name="connsiteX43" fmla="*/ 4518 w 10000"/>
              <a:gd name="connsiteY43" fmla="*/ 7516 h 10000"/>
              <a:gd name="connsiteX44" fmla="*/ 4013 w 10000"/>
              <a:gd name="connsiteY44" fmla="*/ 7969 h 10000"/>
              <a:gd name="connsiteX45" fmla="*/ 3450 w 10000"/>
              <a:gd name="connsiteY45" fmla="*/ 8375 h 10000"/>
              <a:gd name="connsiteX46" fmla="*/ 2945 w 10000"/>
              <a:gd name="connsiteY46" fmla="*/ 8703 h 10000"/>
              <a:gd name="connsiteX47" fmla="*/ 2576 w 10000"/>
              <a:gd name="connsiteY47" fmla="*/ 8891 h 10000"/>
              <a:gd name="connsiteX48" fmla="*/ 1799 w 10000"/>
              <a:gd name="connsiteY48" fmla="*/ 9156 h 10000"/>
              <a:gd name="connsiteX49" fmla="*/ 1579 w 10000"/>
              <a:gd name="connsiteY49" fmla="*/ 9219 h 10000"/>
              <a:gd name="connsiteX50" fmla="*/ 1353 w 10000"/>
              <a:gd name="connsiteY50" fmla="*/ 9250 h 10000"/>
              <a:gd name="connsiteX51" fmla="*/ 1152 w 10000"/>
              <a:gd name="connsiteY51" fmla="*/ 9281 h 10000"/>
              <a:gd name="connsiteX52" fmla="*/ 951 w 10000"/>
              <a:gd name="connsiteY52" fmla="*/ 9281 h 10000"/>
              <a:gd name="connsiteX53" fmla="*/ 738 w 10000"/>
              <a:gd name="connsiteY53" fmla="*/ 9313 h 10000"/>
              <a:gd name="connsiteX54" fmla="*/ 492 w 10000"/>
              <a:gd name="connsiteY54" fmla="*/ 9328 h 10000"/>
              <a:gd name="connsiteX55" fmla="*/ 265 w 10000"/>
              <a:gd name="connsiteY55" fmla="*/ 9328 h 10000"/>
              <a:gd name="connsiteX56" fmla="*/ 0 w 10000"/>
              <a:gd name="connsiteY56" fmla="*/ 9281 h 10000"/>
              <a:gd name="connsiteX0" fmla="*/ 0 w 10000"/>
              <a:gd name="connsiteY0" fmla="*/ 9281 h 10000"/>
              <a:gd name="connsiteX1" fmla="*/ 550 w 10000"/>
              <a:gd name="connsiteY1" fmla="*/ 9688 h 10000"/>
              <a:gd name="connsiteX2" fmla="*/ 770 w 10000"/>
              <a:gd name="connsiteY2" fmla="*/ 9797 h 10000"/>
              <a:gd name="connsiteX3" fmla="*/ 1061 w 10000"/>
              <a:gd name="connsiteY3" fmla="*/ 9891 h 10000"/>
              <a:gd name="connsiteX4" fmla="*/ 1443 w 10000"/>
              <a:gd name="connsiteY4" fmla="*/ 9969 h 10000"/>
              <a:gd name="connsiteX5" fmla="*/ 2233 w 10000"/>
              <a:gd name="connsiteY5" fmla="*/ 10000 h 10000"/>
              <a:gd name="connsiteX6" fmla="*/ 2641 w 10000"/>
              <a:gd name="connsiteY6" fmla="*/ 9984 h 10000"/>
              <a:gd name="connsiteX7" fmla="*/ 3405 w 10000"/>
              <a:gd name="connsiteY7" fmla="*/ 9844 h 10000"/>
              <a:gd name="connsiteX8" fmla="*/ 3929 w 10000"/>
              <a:gd name="connsiteY8" fmla="*/ 9656 h 10000"/>
              <a:gd name="connsiteX9" fmla="*/ 4440 w 10000"/>
              <a:gd name="connsiteY9" fmla="*/ 9422 h 10000"/>
              <a:gd name="connsiteX10" fmla="*/ 4984 w 10000"/>
              <a:gd name="connsiteY10" fmla="*/ 9125 h 10000"/>
              <a:gd name="connsiteX11" fmla="*/ 5521 w 10000"/>
              <a:gd name="connsiteY11" fmla="*/ 8750 h 10000"/>
              <a:gd name="connsiteX12" fmla="*/ 5935 w 10000"/>
              <a:gd name="connsiteY12" fmla="*/ 8438 h 10000"/>
              <a:gd name="connsiteX13" fmla="*/ 6485 w 10000"/>
              <a:gd name="connsiteY13" fmla="*/ 7891 h 10000"/>
              <a:gd name="connsiteX14" fmla="*/ 6900 w 10000"/>
              <a:gd name="connsiteY14" fmla="*/ 7438 h 10000"/>
              <a:gd name="connsiteX15" fmla="*/ 7327 w 10000"/>
              <a:gd name="connsiteY15" fmla="*/ 6891 h 10000"/>
              <a:gd name="connsiteX16" fmla="*/ 7780 w 10000"/>
              <a:gd name="connsiteY16" fmla="*/ 6281 h 10000"/>
              <a:gd name="connsiteX17" fmla="*/ 8006 w 10000"/>
              <a:gd name="connsiteY17" fmla="*/ 5891 h 10000"/>
              <a:gd name="connsiteX18" fmla="*/ 8265 w 10000"/>
              <a:gd name="connsiteY18" fmla="*/ 5406 h 10000"/>
              <a:gd name="connsiteX19" fmla="*/ 8479 w 10000"/>
              <a:gd name="connsiteY19" fmla="*/ 4953 h 10000"/>
              <a:gd name="connsiteX20" fmla="*/ 8641 w 10000"/>
              <a:gd name="connsiteY20" fmla="*/ 4531 h 10000"/>
              <a:gd name="connsiteX21" fmla="*/ 8803 w 10000"/>
              <a:gd name="connsiteY21" fmla="*/ 4188 h 10000"/>
              <a:gd name="connsiteX22" fmla="*/ 9424 w 10000"/>
              <a:gd name="connsiteY22" fmla="*/ 5594 h 10000"/>
              <a:gd name="connsiteX23" fmla="*/ 9424 w 10000"/>
              <a:gd name="connsiteY23" fmla="*/ 4781 h 10000"/>
              <a:gd name="connsiteX24" fmla="*/ 9463 w 10000"/>
              <a:gd name="connsiteY24" fmla="*/ 3844 h 10000"/>
              <a:gd name="connsiteX25" fmla="*/ 9528 w 10000"/>
              <a:gd name="connsiteY25" fmla="*/ 2891 h 10000"/>
              <a:gd name="connsiteX26" fmla="*/ 9657 w 10000"/>
              <a:gd name="connsiteY26" fmla="*/ 1844 h 10000"/>
              <a:gd name="connsiteX27" fmla="*/ 9780 w 10000"/>
              <a:gd name="connsiteY27" fmla="*/ 1000 h 10000"/>
              <a:gd name="connsiteX28" fmla="*/ 10000 w 10000"/>
              <a:gd name="connsiteY28" fmla="*/ 0 h 10000"/>
              <a:gd name="connsiteX29" fmla="*/ 9528 w 10000"/>
              <a:gd name="connsiteY29" fmla="*/ 406 h 10000"/>
              <a:gd name="connsiteX30" fmla="*/ 9049 w 10000"/>
              <a:gd name="connsiteY30" fmla="*/ 750 h 10000"/>
              <a:gd name="connsiteX31" fmla="*/ 8511 w 10000"/>
              <a:gd name="connsiteY31" fmla="*/ 1016 h 10000"/>
              <a:gd name="connsiteX32" fmla="*/ 8039 w 10000"/>
              <a:gd name="connsiteY32" fmla="*/ 1188 h 10000"/>
              <a:gd name="connsiteX33" fmla="*/ 7767 w 10000"/>
              <a:gd name="connsiteY33" fmla="*/ 1250 h 10000"/>
              <a:gd name="connsiteX34" fmla="*/ 7178 w 10000"/>
              <a:gd name="connsiteY34" fmla="*/ 1499 h 10000"/>
              <a:gd name="connsiteX35" fmla="*/ 8026 w 10000"/>
              <a:gd name="connsiteY35" fmla="*/ 2609 h 10000"/>
              <a:gd name="connsiteX36" fmla="*/ 7741 w 10000"/>
              <a:gd name="connsiteY36" fmla="*/ 3297 h 10000"/>
              <a:gd name="connsiteX37" fmla="*/ 7417 w 10000"/>
              <a:gd name="connsiteY37" fmla="*/ 3891 h 10000"/>
              <a:gd name="connsiteX38" fmla="*/ 7055 w 10000"/>
              <a:gd name="connsiteY38" fmla="*/ 4547 h 10000"/>
              <a:gd name="connsiteX39" fmla="*/ 6621 w 10000"/>
              <a:gd name="connsiteY39" fmla="*/ 5172 h 10000"/>
              <a:gd name="connsiteX40" fmla="*/ 6149 w 10000"/>
              <a:gd name="connsiteY40" fmla="*/ 5813 h 10000"/>
              <a:gd name="connsiteX41" fmla="*/ 5709 w 10000"/>
              <a:gd name="connsiteY41" fmla="*/ 6344 h 10000"/>
              <a:gd name="connsiteX42" fmla="*/ 5074 w 10000"/>
              <a:gd name="connsiteY42" fmla="*/ 7031 h 10000"/>
              <a:gd name="connsiteX43" fmla="*/ 4518 w 10000"/>
              <a:gd name="connsiteY43" fmla="*/ 7516 h 10000"/>
              <a:gd name="connsiteX44" fmla="*/ 4013 w 10000"/>
              <a:gd name="connsiteY44" fmla="*/ 7969 h 10000"/>
              <a:gd name="connsiteX45" fmla="*/ 3450 w 10000"/>
              <a:gd name="connsiteY45" fmla="*/ 8375 h 10000"/>
              <a:gd name="connsiteX46" fmla="*/ 2945 w 10000"/>
              <a:gd name="connsiteY46" fmla="*/ 8703 h 10000"/>
              <a:gd name="connsiteX47" fmla="*/ 2576 w 10000"/>
              <a:gd name="connsiteY47" fmla="*/ 8891 h 10000"/>
              <a:gd name="connsiteX48" fmla="*/ 1799 w 10000"/>
              <a:gd name="connsiteY48" fmla="*/ 9156 h 10000"/>
              <a:gd name="connsiteX49" fmla="*/ 1579 w 10000"/>
              <a:gd name="connsiteY49" fmla="*/ 9219 h 10000"/>
              <a:gd name="connsiteX50" fmla="*/ 1353 w 10000"/>
              <a:gd name="connsiteY50" fmla="*/ 9250 h 10000"/>
              <a:gd name="connsiteX51" fmla="*/ 1152 w 10000"/>
              <a:gd name="connsiteY51" fmla="*/ 9281 h 10000"/>
              <a:gd name="connsiteX52" fmla="*/ 951 w 10000"/>
              <a:gd name="connsiteY52" fmla="*/ 9281 h 10000"/>
              <a:gd name="connsiteX53" fmla="*/ 738 w 10000"/>
              <a:gd name="connsiteY53" fmla="*/ 9313 h 10000"/>
              <a:gd name="connsiteX54" fmla="*/ 492 w 10000"/>
              <a:gd name="connsiteY54" fmla="*/ 9328 h 10000"/>
              <a:gd name="connsiteX55" fmla="*/ 265 w 10000"/>
              <a:gd name="connsiteY55" fmla="*/ 9328 h 10000"/>
              <a:gd name="connsiteX0" fmla="*/ 0 w 10000"/>
              <a:gd name="connsiteY0" fmla="*/ 9281 h 10000"/>
              <a:gd name="connsiteX1" fmla="*/ 550 w 10000"/>
              <a:gd name="connsiteY1" fmla="*/ 9688 h 10000"/>
              <a:gd name="connsiteX2" fmla="*/ 770 w 10000"/>
              <a:gd name="connsiteY2" fmla="*/ 9797 h 10000"/>
              <a:gd name="connsiteX3" fmla="*/ 1061 w 10000"/>
              <a:gd name="connsiteY3" fmla="*/ 9891 h 10000"/>
              <a:gd name="connsiteX4" fmla="*/ 1443 w 10000"/>
              <a:gd name="connsiteY4" fmla="*/ 9969 h 10000"/>
              <a:gd name="connsiteX5" fmla="*/ 2233 w 10000"/>
              <a:gd name="connsiteY5" fmla="*/ 10000 h 10000"/>
              <a:gd name="connsiteX6" fmla="*/ 2641 w 10000"/>
              <a:gd name="connsiteY6" fmla="*/ 9984 h 10000"/>
              <a:gd name="connsiteX7" fmla="*/ 3405 w 10000"/>
              <a:gd name="connsiteY7" fmla="*/ 9844 h 10000"/>
              <a:gd name="connsiteX8" fmla="*/ 3929 w 10000"/>
              <a:gd name="connsiteY8" fmla="*/ 9656 h 10000"/>
              <a:gd name="connsiteX9" fmla="*/ 4440 w 10000"/>
              <a:gd name="connsiteY9" fmla="*/ 9422 h 10000"/>
              <a:gd name="connsiteX10" fmla="*/ 4984 w 10000"/>
              <a:gd name="connsiteY10" fmla="*/ 9125 h 10000"/>
              <a:gd name="connsiteX11" fmla="*/ 5521 w 10000"/>
              <a:gd name="connsiteY11" fmla="*/ 8750 h 10000"/>
              <a:gd name="connsiteX12" fmla="*/ 5935 w 10000"/>
              <a:gd name="connsiteY12" fmla="*/ 8438 h 10000"/>
              <a:gd name="connsiteX13" fmla="*/ 6485 w 10000"/>
              <a:gd name="connsiteY13" fmla="*/ 7891 h 10000"/>
              <a:gd name="connsiteX14" fmla="*/ 6900 w 10000"/>
              <a:gd name="connsiteY14" fmla="*/ 7438 h 10000"/>
              <a:gd name="connsiteX15" fmla="*/ 7327 w 10000"/>
              <a:gd name="connsiteY15" fmla="*/ 6891 h 10000"/>
              <a:gd name="connsiteX16" fmla="*/ 7780 w 10000"/>
              <a:gd name="connsiteY16" fmla="*/ 6281 h 10000"/>
              <a:gd name="connsiteX17" fmla="*/ 8006 w 10000"/>
              <a:gd name="connsiteY17" fmla="*/ 5891 h 10000"/>
              <a:gd name="connsiteX18" fmla="*/ 8265 w 10000"/>
              <a:gd name="connsiteY18" fmla="*/ 5406 h 10000"/>
              <a:gd name="connsiteX19" fmla="*/ 8479 w 10000"/>
              <a:gd name="connsiteY19" fmla="*/ 4953 h 10000"/>
              <a:gd name="connsiteX20" fmla="*/ 8641 w 10000"/>
              <a:gd name="connsiteY20" fmla="*/ 4531 h 10000"/>
              <a:gd name="connsiteX21" fmla="*/ 8803 w 10000"/>
              <a:gd name="connsiteY21" fmla="*/ 4188 h 10000"/>
              <a:gd name="connsiteX22" fmla="*/ 9424 w 10000"/>
              <a:gd name="connsiteY22" fmla="*/ 5594 h 10000"/>
              <a:gd name="connsiteX23" fmla="*/ 9424 w 10000"/>
              <a:gd name="connsiteY23" fmla="*/ 4781 h 10000"/>
              <a:gd name="connsiteX24" fmla="*/ 9463 w 10000"/>
              <a:gd name="connsiteY24" fmla="*/ 3844 h 10000"/>
              <a:gd name="connsiteX25" fmla="*/ 9528 w 10000"/>
              <a:gd name="connsiteY25" fmla="*/ 2891 h 10000"/>
              <a:gd name="connsiteX26" fmla="*/ 9657 w 10000"/>
              <a:gd name="connsiteY26" fmla="*/ 1844 h 10000"/>
              <a:gd name="connsiteX27" fmla="*/ 9780 w 10000"/>
              <a:gd name="connsiteY27" fmla="*/ 1000 h 10000"/>
              <a:gd name="connsiteX28" fmla="*/ 10000 w 10000"/>
              <a:gd name="connsiteY28" fmla="*/ 0 h 10000"/>
              <a:gd name="connsiteX29" fmla="*/ 9528 w 10000"/>
              <a:gd name="connsiteY29" fmla="*/ 406 h 10000"/>
              <a:gd name="connsiteX30" fmla="*/ 9049 w 10000"/>
              <a:gd name="connsiteY30" fmla="*/ 750 h 10000"/>
              <a:gd name="connsiteX31" fmla="*/ 8511 w 10000"/>
              <a:gd name="connsiteY31" fmla="*/ 1016 h 10000"/>
              <a:gd name="connsiteX32" fmla="*/ 8039 w 10000"/>
              <a:gd name="connsiteY32" fmla="*/ 1188 h 10000"/>
              <a:gd name="connsiteX33" fmla="*/ 7767 w 10000"/>
              <a:gd name="connsiteY33" fmla="*/ 1250 h 10000"/>
              <a:gd name="connsiteX34" fmla="*/ 7178 w 10000"/>
              <a:gd name="connsiteY34" fmla="*/ 1499 h 10000"/>
              <a:gd name="connsiteX35" fmla="*/ 8026 w 10000"/>
              <a:gd name="connsiteY35" fmla="*/ 2609 h 10000"/>
              <a:gd name="connsiteX36" fmla="*/ 7741 w 10000"/>
              <a:gd name="connsiteY36" fmla="*/ 3297 h 10000"/>
              <a:gd name="connsiteX37" fmla="*/ 7417 w 10000"/>
              <a:gd name="connsiteY37" fmla="*/ 3891 h 10000"/>
              <a:gd name="connsiteX38" fmla="*/ 7055 w 10000"/>
              <a:gd name="connsiteY38" fmla="*/ 4547 h 10000"/>
              <a:gd name="connsiteX39" fmla="*/ 6621 w 10000"/>
              <a:gd name="connsiteY39" fmla="*/ 5172 h 10000"/>
              <a:gd name="connsiteX40" fmla="*/ 6149 w 10000"/>
              <a:gd name="connsiteY40" fmla="*/ 5813 h 10000"/>
              <a:gd name="connsiteX41" fmla="*/ 5709 w 10000"/>
              <a:gd name="connsiteY41" fmla="*/ 6344 h 10000"/>
              <a:gd name="connsiteX42" fmla="*/ 5074 w 10000"/>
              <a:gd name="connsiteY42" fmla="*/ 7031 h 10000"/>
              <a:gd name="connsiteX43" fmla="*/ 4518 w 10000"/>
              <a:gd name="connsiteY43" fmla="*/ 7516 h 10000"/>
              <a:gd name="connsiteX44" fmla="*/ 4013 w 10000"/>
              <a:gd name="connsiteY44" fmla="*/ 7969 h 10000"/>
              <a:gd name="connsiteX45" fmla="*/ 3450 w 10000"/>
              <a:gd name="connsiteY45" fmla="*/ 8375 h 10000"/>
              <a:gd name="connsiteX46" fmla="*/ 2945 w 10000"/>
              <a:gd name="connsiteY46" fmla="*/ 8703 h 10000"/>
              <a:gd name="connsiteX47" fmla="*/ 2576 w 10000"/>
              <a:gd name="connsiteY47" fmla="*/ 8891 h 10000"/>
              <a:gd name="connsiteX48" fmla="*/ 1799 w 10000"/>
              <a:gd name="connsiteY48" fmla="*/ 9156 h 10000"/>
              <a:gd name="connsiteX49" fmla="*/ 1579 w 10000"/>
              <a:gd name="connsiteY49" fmla="*/ 9219 h 10000"/>
              <a:gd name="connsiteX50" fmla="*/ 1353 w 10000"/>
              <a:gd name="connsiteY50" fmla="*/ 9250 h 10000"/>
              <a:gd name="connsiteX51" fmla="*/ 1152 w 10000"/>
              <a:gd name="connsiteY51" fmla="*/ 9281 h 10000"/>
              <a:gd name="connsiteX52" fmla="*/ 951 w 10000"/>
              <a:gd name="connsiteY52" fmla="*/ 9281 h 10000"/>
              <a:gd name="connsiteX53" fmla="*/ 738 w 10000"/>
              <a:gd name="connsiteY53" fmla="*/ 9313 h 10000"/>
              <a:gd name="connsiteX54" fmla="*/ 492 w 10000"/>
              <a:gd name="connsiteY54" fmla="*/ 9328 h 10000"/>
              <a:gd name="connsiteX0" fmla="*/ 58 w 9508"/>
              <a:gd name="connsiteY0" fmla="*/ 9688 h 10000"/>
              <a:gd name="connsiteX1" fmla="*/ 278 w 9508"/>
              <a:gd name="connsiteY1" fmla="*/ 9797 h 10000"/>
              <a:gd name="connsiteX2" fmla="*/ 569 w 9508"/>
              <a:gd name="connsiteY2" fmla="*/ 9891 h 10000"/>
              <a:gd name="connsiteX3" fmla="*/ 951 w 9508"/>
              <a:gd name="connsiteY3" fmla="*/ 9969 h 10000"/>
              <a:gd name="connsiteX4" fmla="*/ 1741 w 9508"/>
              <a:gd name="connsiteY4" fmla="*/ 10000 h 10000"/>
              <a:gd name="connsiteX5" fmla="*/ 2149 w 9508"/>
              <a:gd name="connsiteY5" fmla="*/ 9984 h 10000"/>
              <a:gd name="connsiteX6" fmla="*/ 2913 w 9508"/>
              <a:gd name="connsiteY6" fmla="*/ 9844 h 10000"/>
              <a:gd name="connsiteX7" fmla="*/ 3437 w 9508"/>
              <a:gd name="connsiteY7" fmla="*/ 9656 h 10000"/>
              <a:gd name="connsiteX8" fmla="*/ 3948 w 9508"/>
              <a:gd name="connsiteY8" fmla="*/ 9422 h 10000"/>
              <a:gd name="connsiteX9" fmla="*/ 4492 w 9508"/>
              <a:gd name="connsiteY9" fmla="*/ 9125 h 10000"/>
              <a:gd name="connsiteX10" fmla="*/ 5029 w 9508"/>
              <a:gd name="connsiteY10" fmla="*/ 8750 h 10000"/>
              <a:gd name="connsiteX11" fmla="*/ 5443 w 9508"/>
              <a:gd name="connsiteY11" fmla="*/ 8438 h 10000"/>
              <a:gd name="connsiteX12" fmla="*/ 5993 w 9508"/>
              <a:gd name="connsiteY12" fmla="*/ 7891 h 10000"/>
              <a:gd name="connsiteX13" fmla="*/ 6408 w 9508"/>
              <a:gd name="connsiteY13" fmla="*/ 7438 h 10000"/>
              <a:gd name="connsiteX14" fmla="*/ 6835 w 9508"/>
              <a:gd name="connsiteY14" fmla="*/ 6891 h 10000"/>
              <a:gd name="connsiteX15" fmla="*/ 7288 w 9508"/>
              <a:gd name="connsiteY15" fmla="*/ 6281 h 10000"/>
              <a:gd name="connsiteX16" fmla="*/ 7514 w 9508"/>
              <a:gd name="connsiteY16" fmla="*/ 5891 h 10000"/>
              <a:gd name="connsiteX17" fmla="*/ 7773 w 9508"/>
              <a:gd name="connsiteY17" fmla="*/ 5406 h 10000"/>
              <a:gd name="connsiteX18" fmla="*/ 7987 w 9508"/>
              <a:gd name="connsiteY18" fmla="*/ 4953 h 10000"/>
              <a:gd name="connsiteX19" fmla="*/ 8149 w 9508"/>
              <a:gd name="connsiteY19" fmla="*/ 4531 h 10000"/>
              <a:gd name="connsiteX20" fmla="*/ 8311 w 9508"/>
              <a:gd name="connsiteY20" fmla="*/ 4188 h 10000"/>
              <a:gd name="connsiteX21" fmla="*/ 8932 w 9508"/>
              <a:gd name="connsiteY21" fmla="*/ 5594 h 10000"/>
              <a:gd name="connsiteX22" fmla="*/ 8932 w 9508"/>
              <a:gd name="connsiteY22" fmla="*/ 4781 h 10000"/>
              <a:gd name="connsiteX23" fmla="*/ 8971 w 9508"/>
              <a:gd name="connsiteY23" fmla="*/ 3844 h 10000"/>
              <a:gd name="connsiteX24" fmla="*/ 9036 w 9508"/>
              <a:gd name="connsiteY24" fmla="*/ 2891 h 10000"/>
              <a:gd name="connsiteX25" fmla="*/ 9165 w 9508"/>
              <a:gd name="connsiteY25" fmla="*/ 1844 h 10000"/>
              <a:gd name="connsiteX26" fmla="*/ 9288 w 9508"/>
              <a:gd name="connsiteY26" fmla="*/ 1000 h 10000"/>
              <a:gd name="connsiteX27" fmla="*/ 9508 w 9508"/>
              <a:gd name="connsiteY27" fmla="*/ 0 h 10000"/>
              <a:gd name="connsiteX28" fmla="*/ 9036 w 9508"/>
              <a:gd name="connsiteY28" fmla="*/ 406 h 10000"/>
              <a:gd name="connsiteX29" fmla="*/ 8557 w 9508"/>
              <a:gd name="connsiteY29" fmla="*/ 750 h 10000"/>
              <a:gd name="connsiteX30" fmla="*/ 8019 w 9508"/>
              <a:gd name="connsiteY30" fmla="*/ 1016 h 10000"/>
              <a:gd name="connsiteX31" fmla="*/ 7547 w 9508"/>
              <a:gd name="connsiteY31" fmla="*/ 1188 h 10000"/>
              <a:gd name="connsiteX32" fmla="*/ 7275 w 9508"/>
              <a:gd name="connsiteY32" fmla="*/ 1250 h 10000"/>
              <a:gd name="connsiteX33" fmla="*/ 6686 w 9508"/>
              <a:gd name="connsiteY33" fmla="*/ 1499 h 10000"/>
              <a:gd name="connsiteX34" fmla="*/ 7534 w 9508"/>
              <a:gd name="connsiteY34" fmla="*/ 2609 h 10000"/>
              <a:gd name="connsiteX35" fmla="*/ 7249 w 9508"/>
              <a:gd name="connsiteY35" fmla="*/ 3297 h 10000"/>
              <a:gd name="connsiteX36" fmla="*/ 6925 w 9508"/>
              <a:gd name="connsiteY36" fmla="*/ 3891 h 10000"/>
              <a:gd name="connsiteX37" fmla="*/ 6563 w 9508"/>
              <a:gd name="connsiteY37" fmla="*/ 4547 h 10000"/>
              <a:gd name="connsiteX38" fmla="*/ 6129 w 9508"/>
              <a:gd name="connsiteY38" fmla="*/ 5172 h 10000"/>
              <a:gd name="connsiteX39" fmla="*/ 5657 w 9508"/>
              <a:gd name="connsiteY39" fmla="*/ 5813 h 10000"/>
              <a:gd name="connsiteX40" fmla="*/ 5217 w 9508"/>
              <a:gd name="connsiteY40" fmla="*/ 6344 h 10000"/>
              <a:gd name="connsiteX41" fmla="*/ 4582 w 9508"/>
              <a:gd name="connsiteY41" fmla="*/ 7031 h 10000"/>
              <a:gd name="connsiteX42" fmla="*/ 4026 w 9508"/>
              <a:gd name="connsiteY42" fmla="*/ 7516 h 10000"/>
              <a:gd name="connsiteX43" fmla="*/ 3521 w 9508"/>
              <a:gd name="connsiteY43" fmla="*/ 7969 h 10000"/>
              <a:gd name="connsiteX44" fmla="*/ 2958 w 9508"/>
              <a:gd name="connsiteY44" fmla="*/ 8375 h 10000"/>
              <a:gd name="connsiteX45" fmla="*/ 2453 w 9508"/>
              <a:gd name="connsiteY45" fmla="*/ 8703 h 10000"/>
              <a:gd name="connsiteX46" fmla="*/ 2084 w 9508"/>
              <a:gd name="connsiteY46" fmla="*/ 8891 h 10000"/>
              <a:gd name="connsiteX47" fmla="*/ 1307 w 9508"/>
              <a:gd name="connsiteY47" fmla="*/ 9156 h 10000"/>
              <a:gd name="connsiteX48" fmla="*/ 1087 w 9508"/>
              <a:gd name="connsiteY48" fmla="*/ 9219 h 10000"/>
              <a:gd name="connsiteX49" fmla="*/ 861 w 9508"/>
              <a:gd name="connsiteY49" fmla="*/ 9250 h 10000"/>
              <a:gd name="connsiteX50" fmla="*/ 660 w 9508"/>
              <a:gd name="connsiteY50" fmla="*/ 9281 h 10000"/>
              <a:gd name="connsiteX51" fmla="*/ 459 w 9508"/>
              <a:gd name="connsiteY51" fmla="*/ 9281 h 10000"/>
              <a:gd name="connsiteX52" fmla="*/ 246 w 9508"/>
              <a:gd name="connsiteY52" fmla="*/ 9313 h 10000"/>
              <a:gd name="connsiteX53" fmla="*/ 0 w 9508"/>
              <a:gd name="connsiteY53" fmla="*/ 9328 h 10000"/>
              <a:gd name="connsiteX0" fmla="*/ 0 w 9939"/>
              <a:gd name="connsiteY0" fmla="*/ 9688 h 10000"/>
              <a:gd name="connsiteX1" fmla="*/ 231 w 9939"/>
              <a:gd name="connsiteY1" fmla="*/ 9797 h 10000"/>
              <a:gd name="connsiteX2" fmla="*/ 537 w 9939"/>
              <a:gd name="connsiteY2" fmla="*/ 9891 h 10000"/>
              <a:gd name="connsiteX3" fmla="*/ 939 w 9939"/>
              <a:gd name="connsiteY3" fmla="*/ 9969 h 10000"/>
              <a:gd name="connsiteX4" fmla="*/ 1770 w 9939"/>
              <a:gd name="connsiteY4" fmla="*/ 10000 h 10000"/>
              <a:gd name="connsiteX5" fmla="*/ 2199 w 9939"/>
              <a:gd name="connsiteY5" fmla="*/ 9984 h 10000"/>
              <a:gd name="connsiteX6" fmla="*/ 3003 w 9939"/>
              <a:gd name="connsiteY6" fmla="*/ 9844 h 10000"/>
              <a:gd name="connsiteX7" fmla="*/ 3554 w 9939"/>
              <a:gd name="connsiteY7" fmla="*/ 9656 h 10000"/>
              <a:gd name="connsiteX8" fmla="*/ 4091 w 9939"/>
              <a:gd name="connsiteY8" fmla="*/ 9422 h 10000"/>
              <a:gd name="connsiteX9" fmla="*/ 4663 w 9939"/>
              <a:gd name="connsiteY9" fmla="*/ 9125 h 10000"/>
              <a:gd name="connsiteX10" fmla="*/ 5228 w 9939"/>
              <a:gd name="connsiteY10" fmla="*/ 8750 h 10000"/>
              <a:gd name="connsiteX11" fmla="*/ 5664 w 9939"/>
              <a:gd name="connsiteY11" fmla="*/ 8438 h 10000"/>
              <a:gd name="connsiteX12" fmla="*/ 6242 w 9939"/>
              <a:gd name="connsiteY12" fmla="*/ 7891 h 10000"/>
              <a:gd name="connsiteX13" fmla="*/ 6679 w 9939"/>
              <a:gd name="connsiteY13" fmla="*/ 7438 h 10000"/>
              <a:gd name="connsiteX14" fmla="*/ 7128 w 9939"/>
              <a:gd name="connsiteY14" fmla="*/ 6891 h 10000"/>
              <a:gd name="connsiteX15" fmla="*/ 7604 w 9939"/>
              <a:gd name="connsiteY15" fmla="*/ 6281 h 10000"/>
              <a:gd name="connsiteX16" fmla="*/ 7842 w 9939"/>
              <a:gd name="connsiteY16" fmla="*/ 5891 h 10000"/>
              <a:gd name="connsiteX17" fmla="*/ 8114 w 9939"/>
              <a:gd name="connsiteY17" fmla="*/ 5406 h 10000"/>
              <a:gd name="connsiteX18" fmla="*/ 8339 w 9939"/>
              <a:gd name="connsiteY18" fmla="*/ 4953 h 10000"/>
              <a:gd name="connsiteX19" fmla="*/ 8510 w 9939"/>
              <a:gd name="connsiteY19" fmla="*/ 4531 h 10000"/>
              <a:gd name="connsiteX20" fmla="*/ 8680 w 9939"/>
              <a:gd name="connsiteY20" fmla="*/ 4188 h 10000"/>
              <a:gd name="connsiteX21" fmla="*/ 9333 w 9939"/>
              <a:gd name="connsiteY21" fmla="*/ 5594 h 10000"/>
              <a:gd name="connsiteX22" fmla="*/ 9333 w 9939"/>
              <a:gd name="connsiteY22" fmla="*/ 4781 h 10000"/>
              <a:gd name="connsiteX23" fmla="*/ 9374 w 9939"/>
              <a:gd name="connsiteY23" fmla="*/ 3844 h 10000"/>
              <a:gd name="connsiteX24" fmla="*/ 9443 w 9939"/>
              <a:gd name="connsiteY24" fmla="*/ 2891 h 10000"/>
              <a:gd name="connsiteX25" fmla="*/ 9578 w 9939"/>
              <a:gd name="connsiteY25" fmla="*/ 1844 h 10000"/>
              <a:gd name="connsiteX26" fmla="*/ 9708 w 9939"/>
              <a:gd name="connsiteY26" fmla="*/ 1000 h 10000"/>
              <a:gd name="connsiteX27" fmla="*/ 9939 w 9939"/>
              <a:gd name="connsiteY27" fmla="*/ 0 h 10000"/>
              <a:gd name="connsiteX28" fmla="*/ 9443 w 9939"/>
              <a:gd name="connsiteY28" fmla="*/ 406 h 10000"/>
              <a:gd name="connsiteX29" fmla="*/ 8939 w 9939"/>
              <a:gd name="connsiteY29" fmla="*/ 750 h 10000"/>
              <a:gd name="connsiteX30" fmla="*/ 8373 w 9939"/>
              <a:gd name="connsiteY30" fmla="*/ 1016 h 10000"/>
              <a:gd name="connsiteX31" fmla="*/ 7877 w 9939"/>
              <a:gd name="connsiteY31" fmla="*/ 1188 h 10000"/>
              <a:gd name="connsiteX32" fmla="*/ 7590 w 9939"/>
              <a:gd name="connsiteY32" fmla="*/ 1250 h 10000"/>
              <a:gd name="connsiteX33" fmla="*/ 6971 w 9939"/>
              <a:gd name="connsiteY33" fmla="*/ 1499 h 10000"/>
              <a:gd name="connsiteX34" fmla="*/ 7863 w 9939"/>
              <a:gd name="connsiteY34" fmla="*/ 2609 h 10000"/>
              <a:gd name="connsiteX35" fmla="*/ 7563 w 9939"/>
              <a:gd name="connsiteY35" fmla="*/ 3297 h 10000"/>
              <a:gd name="connsiteX36" fmla="*/ 7222 w 9939"/>
              <a:gd name="connsiteY36" fmla="*/ 3891 h 10000"/>
              <a:gd name="connsiteX37" fmla="*/ 6842 w 9939"/>
              <a:gd name="connsiteY37" fmla="*/ 4547 h 10000"/>
              <a:gd name="connsiteX38" fmla="*/ 6385 w 9939"/>
              <a:gd name="connsiteY38" fmla="*/ 5172 h 10000"/>
              <a:gd name="connsiteX39" fmla="*/ 5889 w 9939"/>
              <a:gd name="connsiteY39" fmla="*/ 5813 h 10000"/>
              <a:gd name="connsiteX40" fmla="*/ 5426 w 9939"/>
              <a:gd name="connsiteY40" fmla="*/ 6344 h 10000"/>
              <a:gd name="connsiteX41" fmla="*/ 4758 w 9939"/>
              <a:gd name="connsiteY41" fmla="*/ 7031 h 10000"/>
              <a:gd name="connsiteX42" fmla="*/ 4173 w 9939"/>
              <a:gd name="connsiteY42" fmla="*/ 7516 h 10000"/>
              <a:gd name="connsiteX43" fmla="*/ 3642 w 9939"/>
              <a:gd name="connsiteY43" fmla="*/ 7969 h 10000"/>
              <a:gd name="connsiteX44" fmla="*/ 3050 w 9939"/>
              <a:gd name="connsiteY44" fmla="*/ 8375 h 10000"/>
              <a:gd name="connsiteX45" fmla="*/ 2519 w 9939"/>
              <a:gd name="connsiteY45" fmla="*/ 8703 h 10000"/>
              <a:gd name="connsiteX46" fmla="*/ 2131 w 9939"/>
              <a:gd name="connsiteY46" fmla="*/ 8891 h 10000"/>
              <a:gd name="connsiteX47" fmla="*/ 1314 w 9939"/>
              <a:gd name="connsiteY47" fmla="*/ 9156 h 10000"/>
              <a:gd name="connsiteX48" fmla="*/ 1082 w 9939"/>
              <a:gd name="connsiteY48" fmla="*/ 9219 h 10000"/>
              <a:gd name="connsiteX49" fmla="*/ 845 w 9939"/>
              <a:gd name="connsiteY49" fmla="*/ 9250 h 10000"/>
              <a:gd name="connsiteX50" fmla="*/ 633 w 9939"/>
              <a:gd name="connsiteY50" fmla="*/ 9281 h 10000"/>
              <a:gd name="connsiteX51" fmla="*/ 422 w 9939"/>
              <a:gd name="connsiteY51" fmla="*/ 9281 h 10000"/>
              <a:gd name="connsiteX52" fmla="*/ 198 w 9939"/>
              <a:gd name="connsiteY52" fmla="*/ 9313 h 10000"/>
              <a:gd name="connsiteX0" fmla="*/ 33 w 9801"/>
              <a:gd name="connsiteY0" fmla="*/ 9797 h 10000"/>
              <a:gd name="connsiteX1" fmla="*/ 341 w 9801"/>
              <a:gd name="connsiteY1" fmla="*/ 9891 h 10000"/>
              <a:gd name="connsiteX2" fmla="*/ 746 w 9801"/>
              <a:gd name="connsiteY2" fmla="*/ 9969 h 10000"/>
              <a:gd name="connsiteX3" fmla="*/ 1582 w 9801"/>
              <a:gd name="connsiteY3" fmla="*/ 10000 h 10000"/>
              <a:gd name="connsiteX4" fmla="*/ 2013 w 9801"/>
              <a:gd name="connsiteY4" fmla="*/ 9984 h 10000"/>
              <a:gd name="connsiteX5" fmla="*/ 2822 w 9801"/>
              <a:gd name="connsiteY5" fmla="*/ 9844 h 10000"/>
              <a:gd name="connsiteX6" fmla="*/ 3377 w 9801"/>
              <a:gd name="connsiteY6" fmla="*/ 9656 h 10000"/>
              <a:gd name="connsiteX7" fmla="*/ 3917 w 9801"/>
              <a:gd name="connsiteY7" fmla="*/ 9422 h 10000"/>
              <a:gd name="connsiteX8" fmla="*/ 4493 w 9801"/>
              <a:gd name="connsiteY8" fmla="*/ 9125 h 10000"/>
              <a:gd name="connsiteX9" fmla="*/ 5061 w 9801"/>
              <a:gd name="connsiteY9" fmla="*/ 8750 h 10000"/>
              <a:gd name="connsiteX10" fmla="*/ 5500 w 9801"/>
              <a:gd name="connsiteY10" fmla="*/ 8438 h 10000"/>
              <a:gd name="connsiteX11" fmla="*/ 6081 w 9801"/>
              <a:gd name="connsiteY11" fmla="*/ 7891 h 10000"/>
              <a:gd name="connsiteX12" fmla="*/ 6521 w 9801"/>
              <a:gd name="connsiteY12" fmla="*/ 7438 h 10000"/>
              <a:gd name="connsiteX13" fmla="*/ 6973 w 9801"/>
              <a:gd name="connsiteY13" fmla="*/ 6891 h 10000"/>
              <a:gd name="connsiteX14" fmla="*/ 7452 w 9801"/>
              <a:gd name="connsiteY14" fmla="*/ 6281 h 10000"/>
              <a:gd name="connsiteX15" fmla="*/ 7691 w 9801"/>
              <a:gd name="connsiteY15" fmla="*/ 5891 h 10000"/>
              <a:gd name="connsiteX16" fmla="*/ 7965 w 9801"/>
              <a:gd name="connsiteY16" fmla="*/ 5406 h 10000"/>
              <a:gd name="connsiteX17" fmla="*/ 8191 w 9801"/>
              <a:gd name="connsiteY17" fmla="*/ 4953 h 10000"/>
              <a:gd name="connsiteX18" fmla="*/ 8363 w 9801"/>
              <a:gd name="connsiteY18" fmla="*/ 4531 h 10000"/>
              <a:gd name="connsiteX19" fmla="*/ 8534 w 9801"/>
              <a:gd name="connsiteY19" fmla="*/ 4188 h 10000"/>
              <a:gd name="connsiteX20" fmla="*/ 9191 w 9801"/>
              <a:gd name="connsiteY20" fmla="*/ 5594 h 10000"/>
              <a:gd name="connsiteX21" fmla="*/ 9191 w 9801"/>
              <a:gd name="connsiteY21" fmla="*/ 4781 h 10000"/>
              <a:gd name="connsiteX22" fmla="*/ 9233 w 9801"/>
              <a:gd name="connsiteY22" fmla="*/ 3844 h 10000"/>
              <a:gd name="connsiteX23" fmla="*/ 9302 w 9801"/>
              <a:gd name="connsiteY23" fmla="*/ 2891 h 10000"/>
              <a:gd name="connsiteX24" fmla="*/ 9438 w 9801"/>
              <a:gd name="connsiteY24" fmla="*/ 1844 h 10000"/>
              <a:gd name="connsiteX25" fmla="*/ 9569 w 9801"/>
              <a:gd name="connsiteY25" fmla="*/ 1000 h 10000"/>
              <a:gd name="connsiteX26" fmla="*/ 9801 w 9801"/>
              <a:gd name="connsiteY26" fmla="*/ 0 h 10000"/>
              <a:gd name="connsiteX27" fmla="*/ 9302 w 9801"/>
              <a:gd name="connsiteY27" fmla="*/ 406 h 10000"/>
              <a:gd name="connsiteX28" fmla="*/ 8795 w 9801"/>
              <a:gd name="connsiteY28" fmla="*/ 750 h 10000"/>
              <a:gd name="connsiteX29" fmla="*/ 8225 w 9801"/>
              <a:gd name="connsiteY29" fmla="*/ 1016 h 10000"/>
              <a:gd name="connsiteX30" fmla="*/ 7726 w 9801"/>
              <a:gd name="connsiteY30" fmla="*/ 1188 h 10000"/>
              <a:gd name="connsiteX31" fmla="*/ 7438 w 9801"/>
              <a:gd name="connsiteY31" fmla="*/ 1250 h 10000"/>
              <a:gd name="connsiteX32" fmla="*/ 6815 w 9801"/>
              <a:gd name="connsiteY32" fmla="*/ 1499 h 10000"/>
              <a:gd name="connsiteX33" fmla="*/ 7712 w 9801"/>
              <a:gd name="connsiteY33" fmla="*/ 2609 h 10000"/>
              <a:gd name="connsiteX34" fmla="*/ 7410 w 9801"/>
              <a:gd name="connsiteY34" fmla="*/ 3297 h 10000"/>
              <a:gd name="connsiteX35" fmla="*/ 7067 w 9801"/>
              <a:gd name="connsiteY35" fmla="*/ 3891 h 10000"/>
              <a:gd name="connsiteX36" fmla="*/ 6685 w 9801"/>
              <a:gd name="connsiteY36" fmla="*/ 4547 h 10000"/>
              <a:gd name="connsiteX37" fmla="*/ 6225 w 9801"/>
              <a:gd name="connsiteY37" fmla="*/ 5172 h 10000"/>
              <a:gd name="connsiteX38" fmla="*/ 5726 w 9801"/>
              <a:gd name="connsiteY38" fmla="*/ 5813 h 10000"/>
              <a:gd name="connsiteX39" fmla="*/ 5260 w 9801"/>
              <a:gd name="connsiteY39" fmla="*/ 6344 h 10000"/>
              <a:gd name="connsiteX40" fmla="*/ 4588 w 9801"/>
              <a:gd name="connsiteY40" fmla="*/ 7031 h 10000"/>
              <a:gd name="connsiteX41" fmla="*/ 4000 w 9801"/>
              <a:gd name="connsiteY41" fmla="*/ 7516 h 10000"/>
              <a:gd name="connsiteX42" fmla="*/ 3465 w 9801"/>
              <a:gd name="connsiteY42" fmla="*/ 7969 h 10000"/>
              <a:gd name="connsiteX43" fmla="*/ 2870 w 9801"/>
              <a:gd name="connsiteY43" fmla="*/ 8375 h 10000"/>
              <a:gd name="connsiteX44" fmla="*/ 2335 w 9801"/>
              <a:gd name="connsiteY44" fmla="*/ 8703 h 10000"/>
              <a:gd name="connsiteX45" fmla="*/ 1945 w 9801"/>
              <a:gd name="connsiteY45" fmla="*/ 8891 h 10000"/>
              <a:gd name="connsiteX46" fmla="*/ 1123 w 9801"/>
              <a:gd name="connsiteY46" fmla="*/ 9156 h 10000"/>
              <a:gd name="connsiteX47" fmla="*/ 890 w 9801"/>
              <a:gd name="connsiteY47" fmla="*/ 9219 h 10000"/>
              <a:gd name="connsiteX48" fmla="*/ 651 w 9801"/>
              <a:gd name="connsiteY48" fmla="*/ 9250 h 10000"/>
              <a:gd name="connsiteX49" fmla="*/ 438 w 9801"/>
              <a:gd name="connsiteY49" fmla="*/ 9281 h 10000"/>
              <a:gd name="connsiteX50" fmla="*/ 226 w 9801"/>
              <a:gd name="connsiteY50" fmla="*/ 9281 h 10000"/>
              <a:gd name="connsiteX51" fmla="*/ 0 w 9801"/>
              <a:gd name="connsiteY51" fmla="*/ 9313 h 10000"/>
              <a:gd name="connsiteX0" fmla="*/ 0 w 9966"/>
              <a:gd name="connsiteY0" fmla="*/ 9797 h 10000"/>
              <a:gd name="connsiteX1" fmla="*/ 314 w 9966"/>
              <a:gd name="connsiteY1" fmla="*/ 9891 h 10000"/>
              <a:gd name="connsiteX2" fmla="*/ 727 w 9966"/>
              <a:gd name="connsiteY2" fmla="*/ 9969 h 10000"/>
              <a:gd name="connsiteX3" fmla="*/ 1580 w 9966"/>
              <a:gd name="connsiteY3" fmla="*/ 10000 h 10000"/>
              <a:gd name="connsiteX4" fmla="*/ 2020 w 9966"/>
              <a:gd name="connsiteY4" fmla="*/ 9984 h 10000"/>
              <a:gd name="connsiteX5" fmla="*/ 2845 w 9966"/>
              <a:gd name="connsiteY5" fmla="*/ 9844 h 10000"/>
              <a:gd name="connsiteX6" fmla="*/ 3412 w 9966"/>
              <a:gd name="connsiteY6" fmla="*/ 9656 h 10000"/>
              <a:gd name="connsiteX7" fmla="*/ 3963 w 9966"/>
              <a:gd name="connsiteY7" fmla="*/ 9422 h 10000"/>
              <a:gd name="connsiteX8" fmla="*/ 4550 w 9966"/>
              <a:gd name="connsiteY8" fmla="*/ 9125 h 10000"/>
              <a:gd name="connsiteX9" fmla="*/ 5130 w 9966"/>
              <a:gd name="connsiteY9" fmla="*/ 8750 h 10000"/>
              <a:gd name="connsiteX10" fmla="*/ 5578 w 9966"/>
              <a:gd name="connsiteY10" fmla="*/ 8438 h 10000"/>
              <a:gd name="connsiteX11" fmla="*/ 6170 w 9966"/>
              <a:gd name="connsiteY11" fmla="*/ 7891 h 10000"/>
              <a:gd name="connsiteX12" fmla="*/ 6619 w 9966"/>
              <a:gd name="connsiteY12" fmla="*/ 7438 h 10000"/>
              <a:gd name="connsiteX13" fmla="*/ 7081 w 9966"/>
              <a:gd name="connsiteY13" fmla="*/ 6891 h 10000"/>
              <a:gd name="connsiteX14" fmla="*/ 7569 w 9966"/>
              <a:gd name="connsiteY14" fmla="*/ 6281 h 10000"/>
              <a:gd name="connsiteX15" fmla="*/ 7813 w 9966"/>
              <a:gd name="connsiteY15" fmla="*/ 5891 h 10000"/>
              <a:gd name="connsiteX16" fmla="*/ 8093 w 9966"/>
              <a:gd name="connsiteY16" fmla="*/ 5406 h 10000"/>
              <a:gd name="connsiteX17" fmla="*/ 8323 w 9966"/>
              <a:gd name="connsiteY17" fmla="*/ 4953 h 10000"/>
              <a:gd name="connsiteX18" fmla="*/ 8499 w 9966"/>
              <a:gd name="connsiteY18" fmla="*/ 4531 h 10000"/>
              <a:gd name="connsiteX19" fmla="*/ 8673 w 9966"/>
              <a:gd name="connsiteY19" fmla="*/ 4188 h 10000"/>
              <a:gd name="connsiteX20" fmla="*/ 9344 w 9966"/>
              <a:gd name="connsiteY20" fmla="*/ 5594 h 10000"/>
              <a:gd name="connsiteX21" fmla="*/ 9344 w 9966"/>
              <a:gd name="connsiteY21" fmla="*/ 4781 h 10000"/>
              <a:gd name="connsiteX22" fmla="*/ 9386 w 9966"/>
              <a:gd name="connsiteY22" fmla="*/ 3844 h 10000"/>
              <a:gd name="connsiteX23" fmla="*/ 9457 w 9966"/>
              <a:gd name="connsiteY23" fmla="*/ 2891 h 10000"/>
              <a:gd name="connsiteX24" fmla="*/ 9596 w 9966"/>
              <a:gd name="connsiteY24" fmla="*/ 1844 h 10000"/>
              <a:gd name="connsiteX25" fmla="*/ 9729 w 9966"/>
              <a:gd name="connsiteY25" fmla="*/ 1000 h 10000"/>
              <a:gd name="connsiteX26" fmla="*/ 9966 w 9966"/>
              <a:gd name="connsiteY26" fmla="*/ 0 h 10000"/>
              <a:gd name="connsiteX27" fmla="*/ 9457 w 9966"/>
              <a:gd name="connsiteY27" fmla="*/ 406 h 10000"/>
              <a:gd name="connsiteX28" fmla="*/ 8940 w 9966"/>
              <a:gd name="connsiteY28" fmla="*/ 750 h 10000"/>
              <a:gd name="connsiteX29" fmla="*/ 8358 w 9966"/>
              <a:gd name="connsiteY29" fmla="*/ 1016 h 10000"/>
              <a:gd name="connsiteX30" fmla="*/ 7849 w 9966"/>
              <a:gd name="connsiteY30" fmla="*/ 1188 h 10000"/>
              <a:gd name="connsiteX31" fmla="*/ 7555 w 9966"/>
              <a:gd name="connsiteY31" fmla="*/ 1250 h 10000"/>
              <a:gd name="connsiteX32" fmla="*/ 6919 w 9966"/>
              <a:gd name="connsiteY32" fmla="*/ 1499 h 10000"/>
              <a:gd name="connsiteX33" fmla="*/ 7835 w 9966"/>
              <a:gd name="connsiteY33" fmla="*/ 2609 h 10000"/>
              <a:gd name="connsiteX34" fmla="*/ 7526 w 9966"/>
              <a:gd name="connsiteY34" fmla="*/ 3297 h 10000"/>
              <a:gd name="connsiteX35" fmla="*/ 7176 w 9966"/>
              <a:gd name="connsiteY35" fmla="*/ 3891 h 10000"/>
              <a:gd name="connsiteX36" fmla="*/ 6787 w 9966"/>
              <a:gd name="connsiteY36" fmla="*/ 4547 h 10000"/>
              <a:gd name="connsiteX37" fmla="*/ 6317 w 9966"/>
              <a:gd name="connsiteY37" fmla="*/ 5172 h 10000"/>
              <a:gd name="connsiteX38" fmla="*/ 5808 w 9966"/>
              <a:gd name="connsiteY38" fmla="*/ 5813 h 10000"/>
              <a:gd name="connsiteX39" fmla="*/ 5333 w 9966"/>
              <a:gd name="connsiteY39" fmla="*/ 6344 h 10000"/>
              <a:gd name="connsiteX40" fmla="*/ 4647 w 9966"/>
              <a:gd name="connsiteY40" fmla="*/ 7031 h 10000"/>
              <a:gd name="connsiteX41" fmla="*/ 4047 w 9966"/>
              <a:gd name="connsiteY41" fmla="*/ 7516 h 10000"/>
              <a:gd name="connsiteX42" fmla="*/ 3501 w 9966"/>
              <a:gd name="connsiteY42" fmla="*/ 7969 h 10000"/>
              <a:gd name="connsiteX43" fmla="*/ 2894 w 9966"/>
              <a:gd name="connsiteY43" fmla="*/ 8375 h 10000"/>
              <a:gd name="connsiteX44" fmla="*/ 2348 w 9966"/>
              <a:gd name="connsiteY44" fmla="*/ 8703 h 10000"/>
              <a:gd name="connsiteX45" fmla="*/ 1950 w 9966"/>
              <a:gd name="connsiteY45" fmla="*/ 8891 h 10000"/>
              <a:gd name="connsiteX46" fmla="*/ 1112 w 9966"/>
              <a:gd name="connsiteY46" fmla="*/ 9156 h 10000"/>
              <a:gd name="connsiteX47" fmla="*/ 874 w 9966"/>
              <a:gd name="connsiteY47" fmla="*/ 9219 h 10000"/>
              <a:gd name="connsiteX48" fmla="*/ 630 w 9966"/>
              <a:gd name="connsiteY48" fmla="*/ 9250 h 10000"/>
              <a:gd name="connsiteX49" fmla="*/ 413 w 9966"/>
              <a:gd name="connsiteY49" fmla="*/ 9281 h 10000"/>
              <a:gd name="connsiteX50" fmla="*/ 197 w 9966"/>
              <a:gd name="connsiteY50" fmla="*/ 9281 h 10000"/>
              <a:gd name="connsiteX0" fmla="*/ 0 w 10000"/>
              <a:gd name="connsiteY0" fmla="*/ 9797 h 10000"/>
              <a:gd name="connsiteX1" fmla="*/ 315 w 10000"/>
              <a:gd name="connsiteY1" fmla="*/ 9891 h 10000"/>
              <a:gd name="connsiteX2" fmla="*/ 729 w 10000"/>
              <a:gd name="connsiteY2" fmla="*/ 9969 h 10000"/>
              <a:gd name="connsiteX3" fmla="*/ 1585 w 10000"/>
              <a:gd name="connsiteY3" fmla="*/ 10000 h 10000"/>
              <a:gd name="connsiteX4" fmla="*/ 2027 w 10000"/>
              <a:gd name="connsiteY4" fmla="*/ 9984 h 10000"/>
              <a:gd name="connsiteX5" fmla="*/ 2855 w 10000"/>
              <a:gd name="connsiteY5" fmla="*/ 9844 h 10000"/>
              <a:gd name="connsiteX6" fmla="*/ 3424 w 10000"/>
              <a:gd name="connsiteY6" fmla="*/ 9656 h 10000"/>
              <a:gd name="connsiteX7" fmla="*/ 3977 w 10000"/>
              <a:gd name="connsiteY7" fmla="*/ 9422 h 10000"/>
              <a:gd name="connsiteX8" fmla="*/ 4566 w 10000"/>
              <a:gd name="connsiteY8" fmla="*/ 9125 h 10000"/>
              <a:gd name="connsiteX9" fmla="*/ 5148 w 10000"/>
              <a:gd name="connsiteY9" fmla="*/ 8750 h 10000"/>
              <a:gd name="connsiteX10" fmla="*/ 5597 w 10000"/>
              <a:gd name="connsiteY10" fmla="*/ 8438 h 10000"/>
              <a:gd name="connsiteX11" fmla="*/ 6191 w 10000"/>
              <a:gd name="connsiteY11" fmla="*/ 7891 h 10000"/>
              <a:gd name="connsiteX12" fmla="*/ 6642 w 10000"/>
              <a:gd name="connsiteY12" fmla="*/ 7438 h 10000"/>
              <a:gd name="connsiteX13" fmla="*/ 7105 w 10000"/>
              <a:gd name="connsiteY13" fmla="*/ 6891 h 10000"/>
              <a:gd name="connsiteX14" fmla="*/ 7595 w 10000"/>
              <a:gd name="connsiteY14" fmla="*/ 6281 h 10000"/>
              <a:gd name="connsiteX15" fmla="*/ 7840 w 10000"/>
              <a:gd name="connsiteY15" fmla="*/ 5891 h 10000"/>
              <a:gd name="connsiteX16" fmla="*/ 8121 w 10000"/>
              <a:gd name="connsiteY16" fmla="*/ 5406 h 10000"/>
              <a:gd name="connsiteX17" fmla="*/ 8351 w 10000"/>
              <a:gd name="connsiteY17" fmla="*/ 4953 h 10000"/>
              <a:gd name="connsiteX18" fmla="*/ 8528 w 10000"/>
              <a:gd name="connsiteY18" fmla="*/ 4531 h 10000"/>
              <a:gd name="connsiteX19" fmla="*/ 8703 w 10000"/>
              <a:gd name="connsiteY19" fmla="*/ 4188 h 10000"/>
              <a:gd name="connsiteX20" fmla="*/ 9376 w 10000"/>
              <a:gd name="connsiteY20" fmla="*/ 5594 h 10000"/>
              <a:gd name="connsiteX21" fmla="*/ 9376 w 10000"/>
              <a:gd name="connsiteY21" fmla="*/ 4781 h 10000"/>
              <a:gd name="connsiteX22" fmla="*/ 9418 w 10000"/>
              <a:gd name="connsiteY22" fmla="*/ 3844 h 10000"/>
              <a:gd name="connsiteX23" fmla="*/ 9489 w 10000"/>
              <a:gd name="connsiteY23" fmla="*/ 2891 h 10000"/>
              <a:gd name="connsiteX24" fmla="*/ 9629 w 10000"/>
              <a:gd name="connsiteY24" fmla="*/ 1844 h 10000"/>
              <a:gd name="connsiteX25" fmla="*/ 9762 w 10000"/>
              <a:gd name="connsiteY25" fmla="*/ 1000 h 10000"/>
              <a:gd name="connsiteX26" fmla="*/ 10000 w 10000"/>
              <a:gd name="connsiteY26" fmla="*/ 0 h 10000"/>
              <a:gd name="connsiteX27" fmla="*/ 9489 w 10000"/>
              <a:gd name="connsiteY27" fmla="*/ 406 h 10000"/>
              <a:gd name="connsiteX28" fmla="*/ 8970 w 10000"/>
              <a:gd name="connsiteY28" fmla="*/ 750 h 10000"/>
              <a:gd name="connsiteX29" fmla="*/ 8387 w 10000"/>
              <a:gd name="connsiteY29" fmla="*/ 1016 h 10000"/>
              <a:gd name="connsiteX30" fmla="*/ 7876 w 10000"/>
              <a:gd name="connsiteY30" fmla="*/ 1188 h 10000"/>
              <a:gd name="connsiteX31" fmla="*/ 7581 w 10000"/>
              <a:gd name="connsiteY31" fmla="*/ 1250 h 10000"/>
              <a:gd name="connsiteX32" fmla="*/ 6943 w 10000"/>
              <a:gd name="connsiteY32" fmla="*/ 1499 h 10000"/>
              <a:gd name="connsiteX33" fmla="*/ 7862 w 10000"/>
              <a:gd name="connsiteY33" fmla="*/ 2609 h 10000"/>
              <a:gd name="connsiteX34" fmla="*/ 7552 w 10000"/>
              <a:gd name="connsiteY34" fmla="*/ 3297 h 10000"/>
              <a:gd name="connsiteX35" fmla="*/ 7200 w 10000"/>
              <a:gd name="connsiteY35" fmla="*/ 3891 h 10000"/>
              <a:gd name="connsiteX36" fmla="*/ 6810 w 10000"/>
              <a:gd name="connsiteY36" fmla="*/ 4547 h 10000"/>
              <a:gd name="connsiteX37" fmla="*/ 6339 w 10000"/>
              <a:gd name="connsiteY37" fmla="*/ 5172 h 10000"/>
              <a:gd name="connsiteX38" fmla="*/ 5828 w 10000"/>
              <a:gd name="connsiteY38" fmla="*/ 5813 h 10000"/>
              <a:gd name="connsiteX39" fmla="*/ 5351 w 10000"/>
              <a:gd name="connsiteY39" fmla="*/ 6344 h 10000"/>
              <a:gd name="connsiteX40" fmla="*/ 4663 w 10000"/>
              <a:gd name="connsiteY40" fmla="*/ 7031 h 10000"/>
              <a:gd name="connsiteX41" fmla="*/ 4061 w 10000"/>
              <a:gd name="connsiteY41" fmla="*/ 7516 h 10000"/>
              <a:gd name="connsiteX42" fmla="*/ 3513 w 10000"/>
              <a:gd name="connsiteY42" fmla="*/ 7969 h 10000"/>
              <a:gd name="connsiteX43" fmla="*/ 2904 w 10000"/>
              <a:gd name="connsiteY43" fmla="*/ 8375 h 10000"/>
              <a:gd name="connsiteX44" fmla="*/ 2356 w 10000"/>
              <a:gd name="connsiteY44" fmla="*/ 8703 h 10000"/>
              <a:gd name="connsiteX45" fmla="*/ 1957 w 10000"/>
              <a:gd name="connsiteY45" fmla="*/ 8891 h 10000"/>
              <a:gd name="connsiteX46" fmla="*/ 1116 w 10000"/>
              <a:gd name="connsiteY46" fmla="*/ 9156 h 10000"/>
              <a:gd name="connsiteX47" fmla="*/ 877 w 10000"/>
              <a:gd name="connsiteY47" fmla="*/ 9219 h 10000"/>
              <a:gd name="connsiteX48" fmla="*/ 632 w 10000"/>
              <a:gd name="connsiteY48" fmla="*/ 9250 h 10000"/>
              <a:gd name="connsiteX49" fmla="*/ 414 w 10000"/>
              <a:gd name="connsiteY49" fmla="*/ 9281 h 10000"/>
              <a:gd name="connsiteX0" fmla="*/ 0 w 10000"/>
              <a:gd name="connsiteY0" fmla="*/ 9797 h 10000"/>
              <a:gd name="connsiteX1" fmla="*/ 315 w 10000"/>
              <a:gd name="connsiteY1" fmla="*/ 9891 h 10000"/>
              <a:gd name="connsiteX2" fmla="*/ 729 w 10000"/>
              <a:gd name="connsiteY2" fmla="*/ 9969 h 10000"/>
              <a:gd name="connsiteX3" fmla="*/ 1585 w 10000"/>
              <a:gd name="connsiteY3" fmla="*/ 10000 h 10000"/>
              <a:gd name="connsiteX4" fmla="*/ 2027 w 10000"/>
              <a:gd name="connsiteY4" fmla="*/ 9984 h 10000"/>
              <a:gd name="connsiteX5" fmla="*/ 2855 w 10000"/>
              <a:gd name="connsiteY5" fmla="*/ 9844 h 10000"/>
              <a:gd name="connsiteX6" fmla="*/ 3424 w 10000"/>
              <a:gd name="connsiteY6" fmla="*/ 9656 h 10000"/>
              <a:gd name="connsiteX7" fmla="*/ 3977 w 10000"/>
              <a:gd name="connsiteY7" fmla="*/ 9422 h 10000"/>
              <a:gd name="connsiteX8" fmla="*/ 4566 w 10000"/>
              <a:gd name="connsiteY8" fmla="*/ 9125 h 10000"/>
              <a:gd name="connsiteX9" fmla="*/ 5148 w 10000"/>
              <a:gd name="connsiteY9" fmla="*/ 8750 h 10000"/>
              <a:gd name="connsiteX10" fmla="*/ 5597 w 10000"/>
              <a:gd name="connsiteY10" fmla="*/ 8438 h 10000"/>
              <a:gd name="connsiteX11" fmla="*/ 6191 w 10000"/>
              <a:gd name="connsiteY11" fmla="*/ 7891 h 10000"/>
              <a:gd name="connsiteX12" fmla="*/ 6642 w 10000"/>
              <a:gd name="connsiteY12" fmla="*/ 7438 h 10000"/>
              <a:gd name="connsiteX13" fmla="*/ 7105 w 10000"/>
              <a:gd name="connsiteY13" fmla="*/ 6891 h 10000"/>
              <a:gd name="connsiteX14" fmla="*/ 7595 w 10000"/>
              <a:gd name="connsiteY14" fmla="*/ 6281 h 10000"/>
              <a:gd name="connsiteX15" fmla="*/ 7840 w 10000"/>
              <a:gd name="connsiteY15" fmla="*/ 5891 h 10000"/>
              <a:gd name="connsiteX16" fmla="*/ 8121 w 10000"/>
              <a:gd name="connsiteY16" fmla="*/ 5406 h 10000"/>
              <a:gd name="connsiteX17" fmla="*/ 8351 w 10000"/>
              <a:gd name="connsiteY17" fmla="*/ 4953 h 10000"/>
              <a:gd name="connsiteX18" fmla="*/ 8528 w 10000"/>
              <a:gd name="connsiteY18" fmla="*/ 4531 h 10000"/>
              <a:gd name="connsiteX19" fmla="*/ 8703 w 10000"/>
              <a:gd name="connsiteY19" fmla="*/ 4188 h 10000"/>
              <a:gd name="connsiteX20" fmla="*/ 9376 w 10000"/>
              <a:gd name="connsiteY20" fmla="*/ 5594 h 10000"/>
              <a:gd name="connsiteX21" fmla="*/ 9376 w 10000"/>
              <a:gd name="connsiteY21" fmla="*/ 4781 h 10000"/>
              <a:gd name="connsiteX22" fmla="*/ 9418 w 10000"/>
              <a:gd name="connsiteY22" fmla="*/ 3844 h 10000"/>
              <a:gd name="connsiteX23" fmla="*/ 9489 w 10000"/>
              <a:gd name="connsiteY23" fmla="*/ 2891 h 10000"/>
              <a:gd name="connsiteX24" fmla="*/ 9629 w 10000"/>
              <a:gd name="connsiteY24" fmla="*/ 1844 h 10000"/>
              <a:gd name="connsiteX25" fmla="*/ 9762 w 10000"/>
              <a:gd name="connsiteY25" fmla="*/ 1000 h 10000"/>
              <a:gd name="connsiteX26" fmla="*/ 10000 w 10000"/>
              <a:gd name="connsiteY26" fmla="*/ 0 h 10000"/>
              <a:gd name="connsiteX27" fmla="*/ 9489 w 10000"/>
              <a:gd name="connsiteY27" fmla="*/ 406 h 10000"/>
              <a:gd name="connsiteX28" fmla="*/ 8970 w 10000"/>
              <a:gd name="connsiteY28" fmla="*/ 750 h 10000"/>
              <a:gd name="connsiteX29" fmla="*/ 8387 w 10000"/>
              <a:gd name="connsiteY29" fmla="*/ 1016 h 10000"/>
              <a:gd name="connsiteX30" fmla="*/ 7876 w 10000"/>
              <a:gd name="connsiteY30" fmla="*/ 1188 h 10000"/>
              <a:gd name="connsiteX31" fmla="*/ 7581 w 10000"/>
              <a:gd name="connsiteY31" fmla="*/ 1250 h 10000"/>
              <a:gd name="connsiteX32" fmla="*/ 6943 w 10000"/>
              <a:gd name="connsiteY32" fmla="*/ 1499 h 10000"/>
              <a:gd name="connsiteX33" fmla="*/ 7862 w 10000"/>
              <a:gd name="connsiteY33" fmla="*/ 2609 h 10000"/>
              <a:gd name="connsiteX34" fmla="*/ 7552 w 10000"/>
              <a:gd name="connsiteY34" fmla="*/ 3297 h 10000"/>
              <a:gd name="connsiteX35" fmla="*/ 7200 w 10000"/>
              <a:gd name="connsiteY35" fmla="*/ 3891 h 10000"/>
              <a:gd name="connsiteX36" fmla="*/ 6810 w 10000"/>
              <a:gd name="connsiteY36" fmla="*/ 4547 h 10000"/>
              <a:gd name="connsiteX37" fmla="*/ 6339 w 10000"/>
              <a:gd name="connsiteY37" fmla="*/ 5172 h 10000"/>
              <a:gd name="connsiteX38" fmla="*/ 5828 w 10000"/>
              <a:gd name="connsiteY38" fmla="*/ 5813 h 10000"/>
              <a:gd name="connsiteX39" fmla="*/ 5351 w 10000"/>
              <a:gd name="connsiteY39" fmla="*/ 6344 h 10000"/>
              <a:gd name="connsiteX40" fmla="*/ 4663 w 10000"/>
              <a:gd name="connsiteY40" fmla="*/ 7031 h 10000"/>
              <a:gd name="connsiteX41" fmla="*/ 4061 w 10000"/>
              <a:gd name="connsiteY41" fmla="*/ 7516 h 10000"/>
              <a:gd name="connsiteX42" fmla="*/ 3513 w 10000"/>
              <a:gd name="connsiteY42" fmla="*/ 7969 h 10000"/>
              <a:gd name="connsiteX43" fmla="*/ 2904 w 10000"/>
              <a:gd name="connsiteY43" fmla="*/ 8375 h 10000"/>
              <a:gd name="connsiteX44" fmla="*/ 2356 w 10000"/>
              <a:gd name="connsiteY44" fmla="*/ 8703 h 10000"/>
              <a:gd name="connsiteX45" fmla="*/ 1957 w 10000"/>
              <a:gd name="connsiteY45" fmla="*/ 8891 h 10000"/>
              <a:gd name="connsiteX46" fmla="*/ 1116 w 10000"/>
              <a:gd name="connsiteY46" fmla="*/ 9156 h 10000"/>
              <a:gd name="connsiteX47" fmla="*/ 877 w 10000"/>
              <a:gd name="connsiteY47" fmla="*/ 9219 h 10000"/>
              <a:gd name="connsiteX48" fmla="*/ 632 w 10000"/>
              <a:gd name="connsiteY48" fmla="*/ 9250 h 10000"/>
              <a:gd name="connsiteX0" fmla="*/ 0 w 9685"/>
              <a:gd name="connsiteY0" fmla="*/ 9891 h 10000"/>
              <a:gd name="connsiteX1" fmla="*/ 414 w 9685"/>
              <a:gd name="connsiteY1" fmla="*/ 9969 h 10000"/>
              <a:gd name="connsiteX2" fmla="*/ 1270 w 9685"/>
              <a:gd name="connsiteY2" fmla="*/ 10000 h 10000"/>
              <a:gd name="connsiteX3" fmla="*/ 1712 w 9685"/>
              <a:gd name="connsiteY3" fmla="*/ 9984 h 10000"/>
              <a:gd name="connsiteX4" fmla="*/ 2540 w 9685"/>
              <a:gd name="connsiteY4" fmla="*/ 9844 h 10000"/>
              <a:gd name="connsiteX5" fmla="*/ 3109 w 9685"/>
              <a:gd name="connsiteY5" fmla="*/ 9656 h 10000"/>
              <a:gd name="connsiteX6" fmla="*/ 3662 w 9685"/>
              <a:gd name="connsiteY6" fmla="*/ 9422 h 10000"/>
              <a:gd name="connsiteX7" fmla="*/ 4251 w 9685"/>
              <a:gd name="connsiteY7" fmla="*/ 9125 h 10000"/>
              <a:gd name="connsiteX8" fmla="*/ 4833 w 9685"/>
              <a:gd name="connsiteY8" fmla="*/ 8750 h 10000"/>
              <a:gd name="connsiteX9" fmla="*/ 5282 w 9685"/>
              <a:gd name="connsiteY9" fmla="*/ 8438 h 10000"/>
              <a:gd name="connsiteX10" fmla="*/ 5876 w 9685"/>
              <a:gd name="connsiteY10" fmla="*/ 7891 h 10000"/>
              <a:gd name="connsiteX11" fmla="*/ 6327 w 9685"/>
              <a:gd name="connsiteY11" fmla="*/ 7438 h 10000"/>
              <a:gd name="connsiteX12" fmla="*/ 6790 w 9685"/>
              <a:gd name="connsiteY12" fmla="*/ 6891 h 10000"/>
              <a:gd name="connsiteX13" fmla="*/ 7280 w 9685"/>
              <a:gd name="connsiteY13" fmla="*/ 6281 h 10000"/>
              <a:gd name="connsiteX14" fmla="*/ 7525 w 9685"/>
              <a:gd name="connsiteY14" fmla="*/ 5891 h 10000"/>
              <a:gd name="connsiteX15" fmla="*/ 7806 w 9685"/>
              <a:gd name="connsiteY15" fmla="*/ 5406 h 10000"/>
              <a:gd name="connsiteX16" fmla="*/ 8036 w 9685"/>
              <a:gd name="connsiteY16" fmla="*/ 4953 h 10000"/>
              <a:gd name="connsiteX17" fmla="*/ 8213 w 9685"/>
              <a:gd name="connsiteY17" fmla="*/ 4531 h 10000"/>
              <a:gd name="connsiteX18" fmla="*/ 8388 w 9685"/>
              <a:gd name="connsiteY18" fmla="*/ 4188 h 10000"/>
              <a:gd name="connsiteX19" fmla="*/ 9061 w 9685"/>
              <a:gd name="connsiteY19" fmla="*/ 5594 h 10000"/>
              <a:gd name="connsiteX20" fmla="*/ 9061 w 9685"/>
              <a:gd name="connsiteY20" fmla="*/ 4781 h 10000"/>
              <a:gd name="connsiteX21" fmla="*/ 9103 w 9685"/>
              <a:gd name="connsiteY21" fmla="*/ 3844 h 10000"/>
              <a:gd name="connsiteX22" fmla="*/ 9174 w 9685"/>
              <a:gd name="connsiteY22" fmla="*/ 2891 h 10000"/>
              <a:gd name="connsiteX23" fmla="*/ 9314 w 9685"/>
              <a:gd name="connsiteY23" fmla="*/ 1844 h 10000"/>
              <a:gd name="connsiteX24" fmla="*/ 9447 w 9685"/>
              <a:gd name="connsiteY24" fmla="*/ 1000 h 10000"/>
              <a:gd name="connsiteX25" fmla="*/ 9685 w 9685"/>
              <a:gd name="connsiteY25" fmla="*/ 0 h 10000"/>
              <a:gd name="connsiteX26" fmla="*/ 9174 w 9685"/>
              <a:gd name="connsiteY26" fmla="*/ 406 h 10000"/>
              <a:gd name="connsiteX27" fmla="*/ 8655 w 9685"/>
              <a:gd name="connsiteY27" fmla="*/ 750 h 10000"/>
              <a:gd name="connsiteX28" fmla="*/ 8072 w 9685"/>
              <a:gd name="connsiteY28" fmla="*/ 1016 h 10000"/>
              <a:gd name="connsiteX29" fmla="*/ 7561 w 9685"/>
              <a:gd name="connsiteY29" fmla="*/ 1188 h 10000"/>
              <a:gd name="connsiteX30" fmla="*/ 7266 w 9685"/>
              <a:gd name="connsiteY30" fmla="*/ 1250 h 10000"/>
              <a:gd name="connsiteX31" fmla="*/ 6628 w 9685"/>
              <a:gd name="connsiteY31" fmla="*/ 1499 h 10000"/>
              <a:gd name="connsiteX32" fmla="*/ 7547 w 9685"/>
              <a:gd name="connsiteY32" fmla="*/ 2609 h 10000"/>
              <a:gd name="connsiteX33" fmla="*/ 7237 w 9685"/>
              <a:gd name="connsiteY33" fmla="*/ 3297 h 10000"/>
              <a:gd name="connsiteX34" fmla="*/ 6885 w 9685"/>
              <a:gd name="connsiteY34" fmla="*/ 3891 h 10000"/>
              <a:gd name="connsiteX35" fmla="*/ 6495 w 9685"/>
              <a:gd name="connsiteY35" fmla="*/ 4547 h 10000"/>
              <a:gd name="connsiteX36" fmla="*/ 6024 w 9685"/>
              <a:gd name="connsiteY36" fmla="*/ 5172 h 10000"/>
              <a:gd name="connsiteX37" fmla="*/ 5513 w 9685"/>
              <a:gd name="connsiteY37" fmla="*/ 5813 h 10000"/>
              <a:gd name="connsiteX38" fmla="*/ 5036 w 9685"/>
              <a:gd name="connsiteY38" fmla="*/ 6344 h 10000"/>
              <a:gd name="connsiteX39" fmla="*/ 4348 w 9685"/>
              <a:gd name="connsiteY39" fmla="*/ 7031 h 10000"/>
              <a:gd name="connsiteX40" fmla="*/ 3746 w 9685"/>
              <a:gd name="connsiteY40" fmla="*/ 7516 h 10000"/>
              <a:gd name="connsiteX41" fmla="*/ 3198 w 9685"/>
              <a:gd name="connsiteY41" fmla="*/ 7969 h 10000"/>
              <a:gd name="connsiteX42" fmla="*/ 2589 w 9685"/>
              <a:gd name="connsiteY42" fmla="*/ 8375 h 10000"/>
              <a:gd name="connsiteX43" fmla="*/ 2041 w 9685"/>
              <a:gd name="connsiteY43" fmla="*/ 8703 h 10000"/>
              <a:gd name="connsiteX44" fmla="*/ 1642 w 9685"/>
              <a:gd name="connsiteY44" fmla="*/ 8891 h 10000"/>
              <a:gd name="connsiteX45" fmla="*/ 801 w 9685"/>
              <a:gd name="connsiteY45" fmla="*/ 9156 h 10000"/>
              <a:gd name="connsiteX46" fmla="*/ 562 w 9685"/>
              <a:gd name="connsiteY46" fmla="*/ 9219 h 10000"/>
              <a:gd name="connsiteX47" fmla="*/ 317 w 9685"/>
              <a:gd name="connsiteY47" fmla="*/ 9250 h 10000"/>
              <a:gd name="connsiteX0" fmla="*/ 100 w 9673"/>
              <a:gd name="connsiteY0" fmla="*/ 9969 h 10000"/>
              <a:gd name="connsiteX1" fmla="*/ 984 w 9673"/>
              <a:gd name="connsiteY1" fmla="*/ 10000 h 10000"/>
              <a:gd name="connsiteX2" fmla="*/ 1441 w 9673"/>
              <a:gd name="connsiteY2" fmla="*/ 9984 h 10000"/>
              <a:gd name="connsiteX3" fmla="*/ 2296 w 9673"/>
              <a:gd name="connsiteY3" fmla="*/ 9844 h 10000"/>
              <a:gd name="connsiteX4" fmla="*/ 2883 w 9673"/>
              <a:gd name="connsiteY4" fmla="*/ 9656 h 10000"/>
              <a:gd name="connsiteX5" fmla="*/ 3454 w 9673"/>
              <a:gd name="connsiteY5" fmla="*/ 9422 h 10000"/>
              <a:gd name="connsiteX6" fmla="*/ 4062 w 9673"/>
              <a:gd name="connsiteY6" fmla="*/ 9125 h 10000"/>
              <a:gd name="connsiteX7" fmla="*/ 4663 w 9673"/>
              <a:gd name="connsiteY7" fmla="*/ 8750 h 10000"/>
              <a:gd name="connsiteX8" fmla="*/ 5127 w 9673"/>
              <a:gd name="connsiteY8" fmla="*/ 8438 h 10000"/>
              <a:gd name="connsiteX9" fmla="*/ 5740 w 9673"/>
              <a:gd name="connsiteY9" fmla="*/ 7891 h 10000"/>
              <a:gd name="connsiteX10" fmla="*/ 6206 w 9673"/>
              <a:gd name="connsiteY10" fmla="*/ 7438 h 10000"/>
              <a:gd name="connsiteX11" fmla="*/ 6684 w 9673"/>
              <a:gd name="connsiteY11" fmla="*/ 6891 h 10000"/>
              <a:gd name="connsiteX12" fmla="*/ 7190 w 9673"/>
              <a:gd name="connsiteY12" fmla="*/ 6281 h 10000"/>
              <a:gd name="connsiteX13" fmla="*/ 7443 w 9673"/>
              <a:gd name="connsiteY13" fmla="*/ 5891 h 10000"/>
              <a:gd name="connsiteX14" fmla="*/ 7733 w 9673"/>
              <a:gd name="connsiteY14" fmla="*/ 5406 h 10000"/>
              <a:gd name="connsiteX15" fmla="*/ 7970 w 9673"/>
              <a:gd name="connsiteY15" fmla="*/ 4953 h 10000"/>
              <a:gd name="connsiteX16" fmla="*/ 8153 w 9673"/>
              <a:gd name="connsiteY16" fmla="*/ 4531 h 10000"/>
              <a:gd name="connsiteX17" fmla="*/ 8334 w 9673"/>
              <a:gd name="connsiteY17" fmla="*/ 4188 h 10000"/>
              <a:gd name="connsiteX18" fmla="*/ 9029 w 9673"/>
              <a:gd name="connsiteY18" fmla="*/ 5594 h 10000"/>
              <a:gd name="connsiteX19" fmla="*/ 9029 w 9673"/>
              <a:gd name="connsiteY19" fmla="*/ 4781 h 10000"/>
              <a:gd name="connsiteX20" fmla="*/ 9072 w 9673"/>
              <a:gd name="connsiteY20" fmla="*/ 3844 h 10000"/>
              <a:gd name="connsiteX21" fmla="*/ 9145 w 9673"/>
              <a:gd name="connsiteY21" fmla="*/ 2891 h 10000"/>
              <a:gd name="connsiteX22" fmla="*/ 9290 w 9673"/>
              <a:gd name="connsiteY22" fmla="*/ 1844 h 10000"/>
              <a:gd name="connsiteX23" fmla="*/ 9427 w 9673"/>
              <a:gd name="connsiteY23" fmla="*/ 1000 h 10000"/>
              <a:gd name="connsiteX24" fmla="*/ 9673 w 9673"/>
              <a:gd name="connsiteY24" fmla="*/ 0 h 10000"/>
              <a:gd name="connsiteX25" fmla="*/ 9145 w 9673"/>
              <a:gd name="connsiteY25" fmla="*/ 406 h 10000"/>
              <a:gd name="connsiteX26" fmla="*/ 8609 w 9673"/>
              <a:gd name="connsiteY26" fmla="*/ 750 h 10000"/>
              <a:gd name="connsiteX27" fmla="*/ 8008 w 9673"/>
              <a:gd name="connsiteY27" fmla="*/ 1016 h 10000"/>
              <a:gd name="connsiteX28" fmla="*/ 7480 w 9673"/>
              <a:gd name="connsiteY28" fmla="*/ 1188 h 10000"/>
              <a:gd name="connsiteX29" fmla="*/ 7175 w 9673"/>
              <a:gd name="connsiteY29" fmla="*/ 1250 h 10000"/>
              <a:gd name="connsiteX30" fmla="*/ 6517 w 9673"/>
              <a:gd name="connsiteY30" fmla="*/ 1499 h 10000"/>
              <a:gd name="connsiteX31" fmla="*/ 7465 w 9673"/>
              <a:gd name="connsiteY31" fmla="*/ 2609 h 10000"/>
              <a:gd name="connsiteX32" fmla="*/ 7145 w 9673"/>
              <a:gd name="connsiteY32" fmla="*/ 3297 h 10000"/>
              <a:gd name="connsiteX33" fmla="*/ 6782 w 9673"/>
              <a:gd name="connsiteY33" fmla="*/ 3891 h 10000"/>
              <a:gd name="connsiteX34" fmla="*/ 6379 w 9673"/>
              <a:gd name="connsiteY34" fmla="*/ 4547 h 10000"/>
              <a:gd name="connsiteX35" fmla="*/ 5893 w 9673"/>
              <a:gd name="connsiteY35" fmla="*/ 5172 h 10000"/>
              <a:gd name="connsiteX36" fmla="*/ 5365 w 9673"/>
              <a:gd name="connsiteY36" fmla="*/ 5813 h 10000"/>
              <a:gd name="connsiteX37" fmla="*/ 4873 w 9673"/>
              <a:gd name="connsiteY37" fmla="*/ 6344 h 10000"/>
              <a:gd name="connsiteX38" fmla="*/ 4162 w 9673"/>
              <a:gd name="connsiteY38" fmla="*/ 7031 h 10000"/>
              <a:gd name="connsiteX39" fmla="*/ 3541 w 9673"/>
              <a:gd name="connsiteY39" fmla="*/ 7516 h 10000"/>
              <a:gd name="connsiteX40" fmla="*/ 2975 w 9673"/>
              <a:gd name="connsiteY40" fmla="*/ 7969 h 10000"/>
              <a:gd name="connsiteX41" fmla="*/ 2346 w 9673"/>
              <a:gd name="connsiteY41" fmla="*/ 8375 h 10000"/>
              <a:gd name="connsiteX42" fmla="*/ 1780 w 9673"/>
              <a:gd name="connsiteY42" fmla="*/ 8703 h 10000"/>
              <a:gd name="connsiteX43" fmla="*/ 1368 w 9673"/>
              <a:gd name="connsiteY43" fmla="*/ 8891 h 10000"/>
              <a:gd name="connsiteX44" fmla="*/ 500 w 9673"/>
              <a:gd name="connsiteY44" fmla="*/ 9156 h 10000"/>
              <a:gd name="connsiteX45" fmla="*/ 253 w 9673"/>
              <a:gd name="connsiteY45" fmla="*/ 9219 h 10000"/>
              <a:gd name="connsiteX46" fmla="*/ 0 w 9673"/>
              <a:gd name="connsiteY46" fmla="*/ 9250 h 10000"/>
              <a:gd name="connsiteX0" fmla="*/ 0 w 9897"/>
              <a:gd name="connsiteY0" fmla="*/ 9969 h 10000"/>
              <a:gd name="connsiteX1" fmla="*/ 914 w 9897"/>
              <a:gd name="connsiteY1" fmla="*/ 10000 h 10000"/>
              <a:gd name="connsiteX2" fmla="*/ 1387 w 9897"/>
              <a:gd name="connsiteY2" fmla="*/ 9984 h 10000"/>
              <a:gd name="connsiteX3" fmla="*/ 2271 w 9897"/>
              <a:gd name="connsiteY3" fmla="*/ 9844 h 10000"/>
              <a:gd name="connsiteX4" fmla="*/ 2877 w 9897"/>
              <a:gd name="connsiteY4" fmla="*/ 9656 h 10000"/>
              <a:gd name="connsiteX5" fmla="*/ 3468 w 9897"/>
              <a:gd name="connsiteY5" fmla="*/ 9422 h 10000"/>
              <a:gd name="connsiteX6" fmla="*/ 4096 w 9897"/>
              <a:gd name="connsiteY6" fmla="*/ 9125 h 10000"/>
              <a:gd name="connsiteX7" fmla="*/ 4718 w 9897"/>
              <a:gd name="connsiteY7" fmla="*/ 8750 h 10000"/>
              <a:gd name="connsiteX8" fmla="*/ 5197 w 9897"/>
              <a:gd name="connsiteY8" fmla="*/ 8438 h 10000"/>
              <a:gd name="connsiteX9" fmla="*/ 5831 w 9897"/>
              <a:gd name="connsiteY9" fmla="*/ 7891 h 10000"/>
              <a:gd name="connsiteX10" fmla="*/ 6313 w 9897"/>
              <a:gd name="connsiteY10" fmla="*/ 7438 h 10000"/>
              <a:gd name="connsiteX11" fmla="*/ 6807 w 9897"/>
              <a:gd name="connsiteY11" fmla="*/ 6891 h 10000"/>
              <a:gd name="connsiteX12" fmla="*/ 7330 w 9897"/>
              <a:gd name="connsiteY12" fmla="*/ 6281 h 10000"/>
              <a:gd name="connsiteX13" fmla="*/ 7592 w 9897"/>
              <a:gd name="connsiteY13" fmla="*/ 5891 h 10000"/>
              <a:gd name="connsiteX14" fmla="*/ 7891 w 9897"/>
              <a:gd name="connsiteY14" fmla="*/ 5406 h 10000"/>
              <a:gd name="connsiteX15" fmla="*/ 8136 w 9897"/>
              <a:gd name="connsiteY15" fmla="*/ 4953 h 10000"/>
              <a:gd name="connsiteX16" fmla="*/ 8326 w 9897"/>
              <a:gd name="connsiteY16" fmla="*/ 4531 h 10000"/>
              <a:gd name="connsiteX17" fmla="*/ 8513 w 9897"/>
              <a:gd name="connsiteY17" fmla="*/ 4188 h 10000"/>
              <a:gd name="connsiteX18" fmla="*/ 9231 w 9897"/>
              <a:gd name="connsiteY18" fmla="*/ 5594 h 10000"/>
              <a:gd name="connsiteX19" fmla="*/ 9231 w 9897"/>
              <a:gd name="connsiteY19" fmla="*/ 4781 h 10000"/>
              <a:gd name="connsiteX20" fmla="*/ 9276 w 9897"/>
              <a:gd name="connsiteY20" fmla="*/ 3844 h 10000"/>
              <a:gd name="connsiteX21" fmla="*/ 9351 w 9897"/>
              <a:gd name="connsiteY21" fmla="*/ 2891 h 10000"/>
              <a:gd name="connsiteX22" fmla="*/ 9501 w 9897"/>
              <a:gd name="connsiteY22" fmla="*/ 1844 h 10000"/>
              <a:gd name="connsiteX23" fmla="*/ 9643 w 9897"/>
              <a:gd name="connsiteY23" fmla="*/ 1000 h 10000"/>
              <a:gd name="connsiteX24" fmla="*/ 9897 w 9897"/>
              <a:gd name="connsiteY24" fmla="*/ 0 h 10000"/>
              <a:gd name="connsiteX25" fmla="*/ 9351 w 9897"/>
              <a:gd name="connsiteY25" fmla="*/ 406 h 10000"/>
              <a:gd name="connsiteX26" fmla="*/ 8797 w 9897"/>
              <a:gd name="connsiteY26" fmla="*/ 750 h 10000"/>
              <a:gd name="connsiteX27" fmla="*/ 8176 w 9897"/>
              <a:gd name="connsiteY27" fmla="*/ 1016 h 10000"/>
              <a:gd name="connsiteX28" fmla="*/ 7630 w 9897"/>
              <a:gd name="connsiteY28" fmla="*/ 1188 h 10000"/>
              <a:gd name="connsiteX29" fmla="*/ 7315 w 9897"/>
              <a:gd name="connsiteY29" fmla="*/ 1250 h 10000"/>
              <a:gd name="connsiteX30" fmla="*/ 6634 w 9897"/>
              <a:gd name="connsiteY30" fmla="*/ 1499 h 10000"/>
              <a:gd name="connsiteX31" fmla="*/ 7614 w 9897"/>
              <a:gd name="connsiteY31" fmla="*/ 2609 h 10000"/>
              <a:gd name="connsiteX32" fmla="*/ 7284 w 9897"/>
              <a:gd name="connsiteY32" fmla="*/ 3297 h 10000"/>
              <a:gd name="connsiteX33" fmla="*/ 6908 w 9897"/>
              <a:gd name="connsiteY33" fmla="*/ 3891 h 10000"/>
              <a:gd name="connsiteX34" fmla="*/ 6492 w 9897"/>
              <a:gd name="connsiteY34" fmla="*/ 4547 h 10000"/>
              <a:gd name="connsiteX35" fmla="*/ 5989 w 9897"/>
              <a:gd name="connsiteY35" fmla="*/ 5172 h 10000"/>
              <a:gd name="connsiteX36" fmla="*/ 5443 w 9897"/>
              <a:gd name="connsiteY36" fmla="*/ 5813 h 10000"/>
              <a:gd name="connsiteX37" fmla="*/ 4935 w 9897"/>
              <a:gd name="connsiteY37" fmla="*/ 6344 h 10000"/>
              <a:gd name="connsiteX38" fmla="*/ 4200 w 9897"/>
              <a:gd name="connsiteY38" fmla="*/ 7031 h 10000"/>
              <a:gd name="connsiteX39" fmla="*/ 3558 w 9897"/>
              <a:gd name="connsiteY39" fmla="*/ 7516 h 10000"/>
              <a:gd name="connsiteX40" fmla="*/ 2973 w 9897"/>
              <a:gd name="connsiteY40" fmla="*/ 7969 h 10000"/>
              <a:gd name="connsiteX41" fmla="*/ 2322 w 9897"/>
              <a:gd name="connsiteY41" fmla="*/ 8375 h 10000"/>
              <a:gd name="connsiteX42" fmla="*/ 1737 w 9897"/>
              <a:gd name="connsiteY42" fmla="*/ 8703 h 10000"/>
              <a:gd name="connsiteX43" fmla="*/ 1311 w 9897"/>
              <a:gd name="connsiteY43" fmla="*/ 8891 h 10000"/>
              <a:gd name="connsiteX44" fmla="*/ 414 w 9897"/>
              <a:gd name="connsiteY44" fmla="*/ 9156 h 10000"/>
              <a:gd name="connsiteX45" fmla="*/ 159 w 9897"/>
              <a:gd name="connsiteY45" fmla="*/ 9219 h 10000"/>
              <a:gd name="connsiteX0" fmla="*/ 0 w 10000"/>
              <a:gd name="connsiteY0" fmla="*/ 9969 h 10000"/>
              <a:gd name="connsiteX1" fmla="*/ 924 w 10000"/>
              <a:gd name="connsiteY1" fmla="*/ 10000 h 10000"/>
              <a:gd name="connsiteX2" fmla="*/ 1401 w 10000"/>
              <a:gd name="connsiteY2" fmla="*/ 9984 h 10000"/>
              <a:gd name="connsiteX3" fmla="*/ 2295 w 10000"/>
              <a:gd name="connsiteY3" fmla="*/ 9844 h 10000"/>
              <a:gd name="connsiteX4" fmla="*/ 2907 w 10000"/>
              <a:gd name="connsiteY4" fmla="*/ 9656 h 10000"/>
              <a:gd name="connsiteX5" fmla="*/ 3504 w 10000"/>
              <a:gd name="connsiteY5" fmla="*/ 9422 h 10000"/>
              <a:gd name="connsiteX6" fmla="*/ 4139 w 10000"/>
              <a:gd name="connsiteY6" fmla="*/ 9125 h 10000"/>
              <a:gd name="connsiteX7" fmla="*/ 4767 w 10000"/>
              <a:gd name="connsiteY7" fmla="*/ 8750 h 10000"/>
              <a:gd name="connsiteX8" fmla="*/ 5251 w 10000"/>
              <a:gd name="connsiteY8" fmla="*/ 8438 h 10000"/>
              <a:gd name="connsiteX9" fmla="*/ 5892 w 10000"/>
              <a:gd name="connsiteY9" fmla="*/ 7891 h 10000"/>
              <a:gd name="connsiteX10" fmla="*/ 6379 w 10000"/>
              <a:gd name="connsiteY10" fmla="*/ 7438 h 10000"/>
              <a:gd name="connsiteX11" fmla="*/ 6878 w 10000"/>
              <a:gd name="connsiteY11" fmla="*/ 6891 h 10000"/>
              <a:gd name="connsiteX12" fmla="*/ 7406 w 10000"/>
              <a:gd name="connsiteY12" fmla="*/ 6281 h 10000"/>
              <a:gd name="connsiteX13" fmla="*/ 7671 w 10000"/>
              <a:gd name="connsiteY13" fmla="*/ 5891 h 10000"/>
              <a:gd name="connsiteX14" fmla="*/ 7973 w 10000"/>
              <a:gd name="connsiteY14" fmla="*/ 5406 h 10000"/>
              <a:gd name="connsiteX15" fmla="*/ 8221 w 10000"/>
              <a:gd name="connsiteY15" fmla="*/ 4953 h 10000"/>
              <a:gd name="connsiteX16" fmla="*/ 8413 w 10000"/>
              <a:gd name="connsiteY16" fmla="*/ 4531 h 10000"/>
              <a:gd name="connsiteX17" fmla="*/ 8602 w 10000"/>
              <a:gd name="connsiteY17" fmla="*/ 4188 h 10000"/>
              <a:gd name="connsiteX18" fmla="*/ 9327 w 10000"/>
              <a:gd name="connsiteY18" fmla="*/ 5594 h 10000"/>
              <a:gd name="connsiteX19" fmla="*/ 9327 w 10000"/>
              <a:gd name="connsiteY19" fmla="*/ 4781 h 10000"/>
              <a:gd name="connsiteX20" fmla="*/ 9373 w 10000"/>
              <a:gd name="connsiteY20" fmla="*/ 3844 h 10000"/>
              <a:gd name="connsiteX21" fmla="*/ 9448 w 10000"/>
              <a:gd name="connsiteY21" fmla="*/ 2891 h 10000"/>
              <a:gd name="connsiteX22" fmla="*/ 9600 w 10000"/>
              <a:gd name="connsiteY22" fmla="*/ 1844 h 10000"/>
              <a:gd name="connsiteX23" fmla="*/ 9743 w 10000"/>
              <a:gd name="connsiteY23" fmla="*/ 1000 h 10000"/>
              <a:gd name="connsiteX24" fmla="*/ 10000 w 10000"/>
              <a:gd name="connsiteY24" fmla="*/ 0 h 10000"/>
              <a:gd name="connsiteX25" fmla="*/ 9448 w 10000"/>
              <a:gd name="connsiteY25" fmla="*/ 406 h 10000"/>
              <a:gd name="connsiteX26" fmla="*/ 8889 w 10000"/>
              <a:gd name="connsiteY26" fmla="*/ 750 h 10000"/>
              <a:gd name="connsiteX27" fmla="*/ 8261 w 10000"/>
              <a:gd name="connsiteY27" fmla="*/ 1016 h 10000"/>
              <a:gd name="connsiteX28" fmla="*/ 7709 w 10000"/>
              <a:gd name="connsiteY28" fmla="*/ 1188 h 10000"/>
              <a:gd name="connsiteX29" fmla="*/ 7391 w 10000"/>
              <a:gd name="connsiteY29" fmla="*/ 1250 h 10000"/>
              <a:gd name="connsiteX30" fmla="*/ 6703 w 10000"/>
              <a:gd name="connsiteY30" fmla="*/ 1499 h 10000"/>
              <a:gd name="connsiteX31" fmla="*/ 7693 w 10000"/>
              <a:gd name="connsiteY31" fmla="*/ 2609 h 10000"/>
              <a:gd name="connsiteX32" fmla="*/ 7360 w 10000"/>
              <a:gd name="connsiteY32" fmla="*/ 3297 h 10000"/>
              <a:gd name="connsiteX33" fmla="*/ 6980 w 10000"/>
              <a:gd name="connsiteY33" fmla="*/ 3891 h 10000"/>
              <a:gd name="connsiteX34" fmla="*/ 6560 w 10000"/>
              <a:gd name="connsiteY34" fmla="*/ 4547 h 10000"/>
              <a:gd name="connsiteX35" fmla="*/ 6051 w 10000"/>
              <a:gd name="connsiteY35" fmla="*/ 5172 h 10000"/>
              <a:gd name="connsiteX36" fmla="*/ 5500 w 10000"/>
              <a:gd name="connsiteY36" fmla="*/ 5813 h 10000"/>
              <a:gd name="connsiteX37" fmla="*/ 4986 w 10000"/>
              <a:gd name="connsiteY37" fmla="*/ 6344 h 10000"/>
              <a:gd name="connsiteX38" fmla="*/ 4244 w 10000"/>
              <a:gd name="connsiteY38" fmla="*/ 7031 h 10000"/>
              <a:gd name="connsiteX39" fmla="*/ 3595 w 10000"/>
              <a:gd name="connsiteY39" fmla="*/ 7516 h 10000"/>
              <a:gd name="connsiteX40" fmla="*/ 3004 w 10000"/>
              <a:gd name="connsiteY40" fmla="*/ 7969 h 10000"/>
              <a:gd name="connsiteX41" fmla="*/ 2346 w 10000"/>
              <a:gd name="connsiteY41" fmla="*/ 8375 h 10000"/>
              <a:gd name="connsiteX42" fmla="*/ 1755 w 10000"/>
              <a:gd name="connsiteY42" fmla="*/ 8703 h 10000"/>
              <a:gd name="connsiteX43" fmla="*/ 1325 w 10000"/>
              <a:gd name="connsiteY43" fmla="*/ 8891 h 10000"/>
              <a:gd name="connsiteX44" fmla="*/ 418 w 10000"/>
              <a:gd name="connsiteY44" fmla="*/ 9156 h 10000"/>
              <a:gd name="connsiteX0" fmla="*/ 0 w 10000"/>
              <a:gd name="connsiteY0" fmla="*/ 9969 h 10000"/>
              <a:gd name="connsiteX1" fmla="*/ 924 w 10000"/>
              <a:gd name="connsiteY1" fmla="*/ 10000 h 10000"/>
              <a:gd name="connsiteX2" fmla="*/ 1401 w 10000"/>
              <a:gd name="connsiteY2" fmla="*/ 9984 h 10000"/>
              <a:gd name="connsiteX3" fmla="*/ 2295 w 10000"/>
              <a:gd name="connsiteY3" fmla="*/ 9844 h 10000"/>
              <a:gd name="connsiteX4" fmla="*/ 2907 w 10000"/>
              <a:gd name="connsiteY4" fmla="*/ 9656 h 10000"/>
              <a:gd name="connsiteX5" fmla="*/ 3504 w 10000"/>
              <a:gd name="connsiteY5" fmla="*/ 9422 h 10000"/>
              <a:gd name="connsiteX6" fmla="*/ 4139 w 10000"/>
              <a:gd name="connsiteY6" fmla="*/ 9125 h 10000"/>
              <a:gd name="connsiteX7" fmla="*/ 4767 w 10000"/>
              <a:gd name="connsiteY7" fmla="*/ 8750 h 10000"/>
              <a:gd name="connsiteX8" fmla="*/ 5251 w 10000"/>
              <a:gd name="connsiteY8" fmla="*/ 8438 h 10000"/>
              <a:gd name="connsiteX9" fmla="*/ 5892 w 10000"/>
              <a:gd name="connsiteY9" fmla="*/ 7891 h 10000"/>
              <a:gd name="connsiteX10" fmla="*/ 6379 w 10000"/>
              <a:gd name="connsiteY10" fmla="*/ 7438 h 10000"/>
              <a:gd name="connsiteX11" fmla="*/ 6878 w 10000"/>
              <a:gd name="connsiteY11" fmla="*/ 6891 h 10000"/>
              <a:gd name="connsiteX12" fmla="*/ 7406 w 10000"/>
              <a:gd name="connsiteY12" fmla="*/ 6281 h 10000"/>
              <a:gd name="connsiteX13" fmla="*/ 7671 w 10000"/>
              <a:gd name="connsiteY13" fmla="*/ 5891 h 10000"/>
              <a:gd name="connsiteX14" fmla="*/ 7973 w 10000"/>
              <a:gd name="connsiteY14" fmla="*/ 5406 h 10000"/>
              <a:gd name="connsiteX15" fmla="*/ 8221 w 10000"/>
              <a:gd name="connsiteY15" fmla="*/ 4953 h 10000"/>
              <a:gd name="connsiteX16" fmla="*/ 8413 w 10000"/>
              <a:gd name="connsiteY16" fmla="*/ 4531 h 10000"/>
              <a:gd name="connsiteX17" fmla="*/ 8602 w 10000"/>
              <a:gd name="connsiteY17" fmla="*/ 4188 h 10000"/>
              <a:gd name="connsiteX18" fmla="*/ 9327 w 10000"/>
              <a:gd name="connsiteY18" fmla="*/ 5594 h 10000"/>
              <a:gd name="connsiteX19" fmla="*/ 9327 w 10000"/>
              <a:gd name="connsiteY19" fmla="*/ 4781 h 10000"/>
              <a:gd name="connsiteX20" fmla="*/ 9373 w 10000"/>
              <a:gd name="connsiteY20" fmla="*/ 3844 h 10000"/>
              <a:gd name="connsiteX21" fmla="*/ 9448 w 10000"/>
              <a:gd name="connsiteY21" fmla="*/ 2891 h 10000"/>
              <a:gd name="connsiteX22" fmla="*/ 9600 w 10000"/>
              <a:gd name="connsiteY22" fmla="*/ 1844 h 10000"/>
              <a:gd name="connsiteX23" fmla="*/ 9743 w 10000"/>
              <a:gd name="connsiteY23" fmla="*/ 1000 h 10000"/>
              <a:gd name="connsiteX24" fmla="*/ 10000 w 10000"/>
              <a:gd name="connsiteY24" fmla="*/ 0 h 10000"/>
              <a:gd name="connsiteX25" fmla="*/ 9448 w 10000"/>
              <a:gd name="connsiteY25" fmla="*/ 406 h 10000"/>
              <a:gd name="connsiteX26" fmla="*/ 8889 w 10000"/>
              <a:gd name="connsiteY26" fmla="*/ 750 h 10000"/>
              <a:gd name="connsiteX27" fmla="*/ 8261 w 10000"/>
              <a:gd name="connsiteY27" fmla="*/ 1016 h 10000"/>
              <a:gd name="connsiteX28" fmla="*/ 7709 w 10000"/>
              <a:gd name="connsiteY28" fmla="*/ 1188 h 10000"/>
              <a:gd name="connsiteX29" fmla="*/ 7391 w 10000"/>
              <a:gd name="connsiteY29" fmla="*/ 1250 h 10000"/>
              <a:gd name="connsiteX30" fmla="*/ 6703 w 10000"/>
              <a:gd name="connsiteY30" fmla="*/ 1499 h 10000"/>
              <a:gd name="connsiteX31" fmla="*/ 7693 w 10000"/>
              <a:gd name="connsiteY31" fmla="*/ 2609 h 10000"/>
              <a:gd name="connsiteX32" fmla="*/ 7360 w 10000"/>
              <a:gd name="connsiteY32" fmla="*/ 3297 h 10000"/>
              <a:gd name="connsiteX33" fmla="*/ 6980 w 10000"/>
              <a:gd name="connsiteY33" fmla="*/ 3891 h 10000"/>
              <a:gd name="connsiteX34" fmla="*/ 6560 w 10000"/>
              <a:gd name="connsiteY34" fmla="*/ 4547 h 10000"/>
              <a:gd name="connsiteX35" fmla="*/ 6051 w 10000"/>
              <a:gd name="connsiteY35" fmla="*/ 5172 h 10000"/>
              <a:gd name="connsiteX36" fmla="*/ 5500 w 10000"/>
              <a:gd name="connsiteY36" fmla="*/ 5813 h 10000"/>
              <a:gd name="connsiteX37" fmla="*/ 4986 w 10000"/>
              <a:gd name="connsiteY37" fmla="*/ 6344 h 10000"/>
              <a:gd name="connsiteX38" fmla="*/ 4244 w 10000"/>
              <a:gd name="connsiteY38" fmla="*/ 7031 h 10000"/>
              <a:gd name="connsiteX39" fmla="*/ 3595 w 10000"/>
              <a:gd name="connsiteY39" fmla="*/ 7516 h 10000"/>
              <a:gd name="connsiteX40" fmla="*/ 3004 w 10000"/>
              <a:gd name="connsiteY40" fmla="*/ 7969 h 10000"/>
              <a:gd name="connsiteX41" fmla="*/ 2346 w 10000"/>
              <a:gd name="connsiteY41" fmla="*/ 8375 h 10000"/>
              <a:gd name="connsiteX42" fmla="*/ 1755 w 10000"/>
              <a:gd name="connsiteY42" fmla="*/ 8703 h 10000"/>
              <a:gd name="connsiteX43" fmla="*/ 1325 w 10000"/>
              <a:gd name="connsiteY43" fmla="*/ 8891 h 10000"/>
              <a:gd name="connsiteX0" fmla="*/ 0 w 9076"/>
              <a:gd name="connsiteY0" fmla="*/ 10000 h 10000"/>
              <a:gd name="connsiteX1" fmla="*/ 477 w 9076"/>
              <a:gd name="connsiteY1" fmla="*/ 9984 h 10000"/>
              <a:gd name="connsiteX2" fmla="*/ 1371 w 9076"/>
              <a:gd name="connsiteY2" fmla="*/ 9844 h 10000"/>
              <a:gd name="connsiteX3" fmla="*/ 1983 w 9076"/>
              <a:gd name="connsiteY3" fmla="*/ 9656 h 10000"/>
              <a:gd name="connsiteX4" fmla="*/ 2580 w 9076"/>
              <a:gd name="connsiteY4" fmla="*/ 9422 h 10000"/>
              <a:gd name="connsiteX5" fmla="*/ 3215 w 9076"/>
              <a:gd name="connsiteY5" fmla="*/ 9125 h 10000"/>
              <a:gd name="connsiteX6" fmla="*/ 3843 w 9076"/>
              <a:gd name="connsiteY6" fmla="*/ 8750 h 10000"/>
              <a:gd name="connsiteX7" fmla="*/ 4327 w 9076"/>
              <a:gd name="connsiteY7" fmla="*/ 8438 h 10000"/>
              <a:gd name="connsiteX8" fmla="*/ 4968 w 9076"/>
              <a:gd name="connsiteY8" fmla="*/ 7891 h 10000"/>
              <a:gd name="connsiteX9" fmla="*/ 5455 w 9076"/>
              <a:gd name="connsiteY9" fmla="*/ 7438 h 10000"/>
              <a:gd name="connsiteX10" fmla="*/ 5954 w 9076"/>
              <a:gd name="connsiteY10" fmla="*/ 6891 h 10000"/>
              <a:gd name="connsiteX11" fmla="*/ 6482 w 9076"/>
              <a:gd name="connsiteY11" fmla="*/ 6281 h 10000"/>
              <a:gd name="connsiteX12" fmla="*/ 6747 w 9076"/>
              <a:gd name="connsiteY12" fmla="*/ 5891 h 10000"/>
              <a:gd name="connsiteX13" fmla="*/ 7049 w 9076"/>
              <a:gd name="connsiteY13" fmla="*/ 5406 h 10000"/>
              <a:gd name="connsiteX14" fmla="*/ 7297 w 9076"/>
              <a:gd name="connsiteY14" fmla="*/ 4953 h 10000"/>
              <a:gd name="connsiteX15" fmla="*/ 7489 w 9076"/>
              <a:gd name="connsiteY15" fmla="*/ 4531 h 10000"/>
              <a:gd name="connsiteX16" fmla="*/ 7678 w 9076"/>
              <a:gd name="connsiteY16" fmla="*/ 4188 h 10000"/>
              <a:gd name="connsiteX17" fmla="*/ 8403 w 9076"/>
              <a:gd name="connsiteY17" fmla="*/ 5594 h 10000"/>
              <a:gd name="connsiteX18" fmla="*/ 8403 w 9076"/>
              <a:gd name="connsiteY18" fmla="*/ 4781 h 10000"/>
              <a:gd name="connsiteX19" fmla="*/ 8449 w 9076"/>
              <a:gd name="connsiteY19" fmla="*/ 3844 h 10000"/>
              <a:gd name="connsiteX20" fmla="*/ 8524 w 9076"/>
              <a:gd name="connsiteY20" fmla="*/ 2891 h 10000"/>
              <a:gd name="connsiteX21" fmla="*/ 8676 w 9076"/>
              <a:gd name="connsiteY21" fmla="*/ 1844 h 10000"/>
              <a:gd name="connsiteX22" fmla="*/ 8819 w 9076"/>
              <a:gd name="connsiteY22" fmla="*/ 1000 h 10000"/>
              <a:gd name="connsiteX23" fmla="*/ 9076 w 9076"/>
              <a:gd name="connsiteY23" fmla="*/ 0 h 10000"/>
              <a:gd name="connsiteX24" fmla="*/ 8524 w 9076"/>
              <a:gd name="connsiteY24" fmla="*/ 406 h 10000"/>
              <a:gd name="connsiteX25" fmla="*/ 7965 w 9076"/>
              <a:gd name="connsiteY25" fmla="*/ 750 h 10000"/>
              <a:gd name="connsiteX26" fmla="*/ 7337 w 9076"/>
              <a:gd name="connsiteY26" fmla="*/ 1016 h 10000"/>
              <a:gd name="connsiteX27" fmla="*/ 6785 w 9076"/>
              <a:gd name="connsiteY27" fmla="*/ 1188 h 10000"/>
              <a:gd name="connsiteX28" fmla="*/ 6467 w 9076"/>
              <a:gd name="connsiteY28" fmla="*/ 1250 h 10000"/>
              <a:gd name="connsiteX29" fmla="*/ 5779 w 9076"/>
              <a:gd name="connsiteY29" fmla="*/ 1499 h 10000"/>
              <a:gd name="connsiteX30" fmla="*/ 6769 w 9076"/>
              <a:gd name="connsiteY30" fmla="*/ 2609 h 10000"/>
              <a:gd name="connsiteX31" fmla="*/ 6436 w 9076"/>
              <a:gd name="connsiteY31" fmla="*/ 3297 h 10000"/>
              <a:gd name="connsiteX32" fmla="*/ 6056 w 9076"/>
              <a:gd name="connsiteY32" fmla="*/ 3891 h 10000"/>
              <a:gd name="connsiteX33" fmla="*/ 5636 w 9076"/>
              <a:gd name="connsiteY33" fmla="*/ 4547 h 10000"/>
              <a:gd name="connsiteX34" fmla="*/ 5127 w 9076"/>
              <a:gd name="connsiteY34" fmla="*/ 5172 h 10000"/>
              <a:gd name="connsiteX35" fmla="*/ 4576 w 9076"/>
              <a:gd name="connsiteY35" fmla="*/ 5813 h 10000"/>
              <a:gd name="connsiteX36" fmla="*/ 4062 w 9076"/>
              <a:gd name="connsiteY36" fmla="*/ 6344 h 10000"/>
              <a:gd name="connsiteX37" fmla="*/ 3320 w 9076"/>
              <a:gd name="connsiteY37" fmla="*/ 7031 h 10000"/>
              <a:gd name="connsiteX38" fmla="*/ 2671 w 9076"/>
              <a:gd name="connsiteY38" fmla="*/ 7516 h 10000"/>
              <a:gd name="connsiteX39" fmla="*/ 2080 w 9076"/>
              <a:gd name="connsiteY39" fmla="*/ 7969 h 10000"/>
              <a:gd name="connsiteX40" fmla="*/ 1422 w 9076"/>
              <a:gd name="connsiteY40" fmla="*/ 8375 h 10000"/>
              <a:gd name="connsiteX41" fmla="*/ 831 w 9076"/>
              <a:gd name="connsiteY41" fmla="*/ 8703 h 10000"/>
              <a:gd name="connsiteX42" fmla="*/ 401 w 9076"/>
              <a:gd name="connsiteY42" fmla="*/ 8891 h 10000"/>
              <a:gd name="connsiteX0" fmla="*/ 84 w 9558"/>
              <a:gd name="connsiteY0" fmla="*/ 9984 h 9984"/>
              <a:gd name="connsiteX1" fmla="*/ 1069 w 9558"/>
              <a:gd name="connsiteY1" fmla="*/ 9844 h 9984"/>
              <a:gd name="connsiteX2" fmla="*/ 1743 w 9558"/>
              <a:gd name="connsiteY2" fmla="*/ 9656 h 9984"/>
              <a:gd name="connsiteX3" fmla="*/ 2401 w 9558"/>
              <a:gd name="connsiteY3" fmla="*/ 9422 h 9984"/>
              <a:gd name="connsiteX4" fmla="*/ 3100 w 9558"/>
              <a:gd name="connsiteY4" fmla="*/ 9125 h 9984"/>
              <a:gd name="connsiteX5" fmla="*/ 3792 w 9558"/>
              <a:gd name="connsiteY5" fmla="*/ 8750 h 9984"/>
              <a:gd name="connsiteX6" fmla="*/ 4326 w 9558"/>
              <a:gd name="connsiteY6" fmla="*/ 8438 h 9984"/>
              <a:gd name="connsiteX7" fmla="*/ 5032 w 9558"/>
              <a:gd name="connsiteY7" fmla="*/ 7891 h 9984"/>
              <a:gd name="connsiteX8" fmla="*/ 5568 w 9558"/>
              <a:gd name="connsiteY8" fmla="*/ 7438 h 9984"/>
              <a:gd name="connsiteX9" fmla="*/ 6118 w 9558"/>
              <a:gd name="connsiteY9" fmla="*/ 6891 h 9984"/>
              <a:gd name="connsiteX10" fmla="*/ 6700 w 9558"/>
              <a:gd name="connsiteY10" fmla="*/ 6281 h 9984"/>
              <a:gd name="connsiteX11" fmla="*/ 6992 w 9558"/>
              <a:gd name="connsiteY11" fmla="*/ 5891 h 9984"/>
              <a:gd name="connsiteX12" fmla="*/ 7325 w 9558"/>
              <a:gd name="connsiteY12" fmla="*/ 5406 h 9984"/>
              <a:gd name="connsiteX13" fmla="*/ 7598 w 9558"/>
              <a:gd name="connsiteY13" fmla="*/ 4953 h 9984"/>
              <a:gd name="connsiteX14" fmla="*/ 7809 w 9558"/>
              <a:gd name="connsiteY14" fmla="*/ 4531 h 9984"/>
              <a:gd name="connsiteX15" fmla="*/ 8018 w 9558"/>
              <a:gd name="connsiteY15" fmla="*/ 4188 h 9984"/>
              <a:gd name="connsiteX16" fmla="*/ 8816 w 9558"/>
              <a:gd name="connsiteY16" fmla="*/ 5594 h 9984"/>
              <a:gd name="connsiteX17" fmla="*/ 8816 w 9558"/>
              <a:gd name="connsiteY17" fmla="*/ 4781 h 9984"/>
              <a:gd name="connsiteX18" fmla="*/ 8867 w 9558"/>
              <a:gd name="connsiteY18" fmla="*/ 3844 h 9984"/>
              <a:gd name="connsiteX19" fmla="*/ 8950 w 9558"/>
              <a:gd name="connsiteY19" fmla="*/ 2891 h 9984"/>
              <a:gd name="connsiteX20" fmla="*/ 9117 w 9558"/>
              <a:gd name="connsiteY20" fmla="*/ 1844 h 9984"/>
              <a:gd name="connsiteX21" fmla="*/ 9275 w 9558"/>
              <a:gd name="connsiteY21" fmla="*/ 1000 h 9984"/>
              <a:gd name="connsiteX22" fmla="*/ 9558 w 9558"/>
              <a:gd name="connsiteY22" fmla="*/ 0 h 9984"/>
              <a:gd name="connsiteX23" fmla="*/ 8950 w 9558"/>
              <a:gd name="connsiteY23" fmla="*/ 406 h 9984"/>
              <a:gd name="connsiteX24" fmla="*/ 8334 w 9558"/>
              <a:gd name="connsiteY24" fmla="*/ 750 h 9984"/>
              <a:gd name="connsiteX25" fmla="*/ 7642 w 9558"/>
              <a:gd name="connsiteY25" fmla="*/ 1016 h 9984"/>
              <a:gd name="connsiteX26" fmla="*/ 7034 w 9558"/>
              <a:gd name="connsiteY26" fmla="*/ 1188 h 9984"/>
              <a:gd name="connsiteX27" fmla="*/ 6683 w 9558"/>
              <a:gd name="connsiteY27" fmla="*/ 1250 h 9984"/>
              <a:gd name="connsiteX28" fmla="*/ 5925 w 9558"/>
              <a:gd name="connsiteY28" fmla="*/ 1499 h 9984"/>
              <a:gd name="connsiteX29" fmla="*/ 7016 w 9558"/>
              <a:gd name="connsiteY29" fmla="*/ 2609 h 9984"/>
              <a:gd name="connsiteX30" fmla="*/ 6649 w 9558"/>
              <a:gd name="connsiteY30" fmla="*/ 3297 h 9984"/>
              <a:gd name="connsiteX31" fmla="*/ 6231 w 9558"/>
              <a:gd name="connsiteY31" fmla="*/ 3891 h 9984"/>
              <a:gd name="connsiteX32" fmla="*/ 5768 w 9558"/>
              <a:gd name="connsiteY32" fmla="*/ 4547 h 9984"/>
              <a:gd name="connsiteX33" fmla="*/ 5207 w 9558"/>
              <a:gd name="connsiteY33" fmla="*/ 5172 h 9984"/>
              <a:gd name="connsiteX34" fmla="*/ 4600 w 9558"/>
              <a:gd name="connsiteY34" fmla="*/ 5813 h 9984"/>
              <a:gd name="connsiteX35" fmla="*/ 4034 w 9558"/>
              <a:gd name="connsiteY35" fmla="*/ 6344 h 9984"/>
              <a:gd name="connsiteX36" fmla="*/ 3216 w 9558"/>
              <a:gd name="connsiteY36" fmla="*/ 7031 h 9984"/>
              <a:gd name="connsiteX37" fmla="*/ 2501 w 9558"/>
              <a:gd name="connsiteY37" fmla="*/ 7516 h 9984"/>
              <a:gd name="connsiteX38" fmla="*/ 1850 w 9558"/>
              <a:gd name="connsiteY38" fmla="*/ 7969 h 9984"/>
              <a:gd name="connsiteX39" fmla="*/ 1125 w 9558"/>
              <a:gd name="connsiteY39" fmla="*/ 8375 h 9984"/>
              <a:gd name="connsiteX40" fmla="*/ 474 w 9558"/>
              <a:gd name="connsiteY40" fmla="*/ 8703 h 9984"/>
              <a:gd name="connsiteX41" fmla="*/ 0 w 9558"/>
              <a:gd name="connsiteY41" fmla="*/ 8891 h 9984"/>
              <a:gd name="connsiteX0" fmla="*/ 1118 w 10000"/>
              <a:gd name="connsiteY0" fmla="*/ 9860 h 9860"/>
              <a:gd name="connsiteX1" fmla="*/ 1824 w 10000"/>
              <a:gd name="connsiteY1" fmla="*/ 9671 h 9860"/>
              <a:gd name="connsiteX2" fmla="*/ 2512 w 10000"/>
              <a:gd name="connsiteY2" fmla="*/ 9437 h 9860"/>
              <a:gd name="connsiteX3" fmla="*/ 3243 w 10000"/>
              <a:gd name="connsiteY3" fmla="*/ 9140 h 9860"/>
              <a:gd name="connsiteX4" fmla="*/ 3967 w 10000"/>
              <a:gd name="connsiteY4" fmla="*/ 8764 h 9860"/>
              <a:gd name="connsiteX5" fmla="*/ 4526 w 10000"/>
              <a:gd name="connsiteY5" fmla="*/ 8452 h 9860"/>
              <a:gd name="connsiteX6" fmla="*/ 5265 w 10000"/>
              <a:gd name="connsiteY6" fmla="*/ 7904 h 9860"/>
              <a:gd name="connsiteX7" fmla="*/ 5825 w 10000"/>
              <a:gd name="connsiteY7" fmla="*/ 7450 h 9860"/>
              <a:gd name="connsiteX8" fmla="*/ 6401 w 10000"/>
              <a:gd name="connsiteY8" fmla="*/ 6902 h 9860"/>
              <a:gd name="connsiteX9" fmla="*/ 7010 w 10000"/>
              <a:gd name="connsiteY9" fmla="*/ 6291 h 9860"/>
              <a:gd name="connsiteX10" fmla="*/ 7315 w 10000"/>
              <a:gd name="connsiteY10" fmla="*/ 5900 h 9860"/>
              <a:gd name="connsiteX11" fmla="*/ 7664 w 10000"/>
              <a:gd name="connsiteY11" fmla="*/ 5415 h 9860"/>
              <a:gd name="connsiteX12" fmla="*/ 7949 w 10000"/>
              <a:gd name="connsiteY12" fmla="*/ 4961 h 9860"/>
              <a:gd name="connsiteX13" fmla="*/ 8170 w 10000"/>
              <a:gd name="connsiteY13" fmla="*/ 4538 h 9860"/>
              <a:gd name="connsiteX14" fmla="*/ 8389 w 10000"/>
              <a:gd name="connsiteY14" fmla="*/ 4195 h 9860"/>
              <a:gd name="connsiteX15" fmla="*/ 9224 w 10000"/>
              <a:gd name="connsiteY15" fmla="*/ 5603 h 9860"/>
              <a:gd name="connsiteX16" fmla="*/ 9224 w 10000"/>
              <a:gd name="connsiteY16" fmla="*/ 4789 h 9860"/>
              <a:gd name="connsiteX17" fmla="*/ 9277 w 10000"/>
              <a:gd name="connsiteY17" fmla="*/ 3850 h 9860"/>
              <a:gd name="connsiteX18" fmla="*/ 9364 w 10000"/>
              <a:gd name="connsiteY18" fmla="*/ 2896 h 9860"/>
              <a:gd name="connsiteX19" fmla="*/ 9539 w 10000"/>
              <a:gd name="connsiteY19" fmla="*/ 1847 h 9860"/>
              <a:gd name="connsiteX20" fmla="*/ 9704 w 10000"/>
              <a:gd name="connsiteY20" fmla="*/ 1002 h 9860"/>
              <a:gd name="connsiteX21" fmla="*/ 10000 w 10000"/>
              <a:gd name="connsiteY21" fmla="*/ 0 h 9860"/>
              <a:gd name="connsiteX22" fmla="*/ 9364 w 10000"/>
              <a:gd name="connsiteY22" fmla="*/ 407 h 9860"/>
              <a:gd name="connsiteX23" fmla="*/ 8719 w 10000"/>
              <a:gd name="connsiteY23" fmla="*/ 751 h 9860"/>
              <a:gd name="connsiteX24" fmla="*/ 7995 w 10000"/>
              <a:gd name="connsiteY24" fmla="*/ 1018 h 9860"/>
              <a:gd name="connsiteX25" fmla="*/ 7359 w 10000"/>
              <a:gd name="connsiteY25" fmla="*/ 1190 h 9860"/>
              <a:gd name="connsiteX26" fmla="*/ 6992 w 10000"/>
              <a:gd name="connsiteY26" fmla="*/ 1252 h 9860"/>
              <a:gd name="connsiteX27" fmla="*/ 6199 w 10000"/>
              <a:gd name="connsiteY27" fmla="*/ 1501 h 9860"/>
              <a:gd name="connsiteX28" fmla="*/ 7340 w 10000"/>
              <a:gd name="connsiteY28" fmla="*/ 2613 h 9860"/>
              <a:gd name="connsiteX29" fmla="*/ 6956 w 10000"/>
              <a:gd name="connsiteY29" fmla="*/ 3302 h 9860"/>
              <a:gd name="connsiteX30" fmla="*/ 6519 w 10000"/>
              <a:gd name="connsiteY30" fmla="*/ 3897 h 9860"/>
              <a:gd name="connsiteX31" fmla="*/ 6035 w 10000"/>
              <a:gd name="connsiteY31" fmla="*/ 4554 h 9860"/>
              <a:gd name="connsiteX32" fmla="*/ 5448 w 10000"/>
              <a:gd name="connsiteY32" fmla="*/ 5180 h 9860"/>
              <a:gd name="connsiteX33" fmla="*/ 4813 w 10000"/>
              <a:gd name="connsiteY33" fmla="*/ 5822 h 9860"/>
              <a:gd name="connsiteX34" fmla="*/ 4221 w 10000"/>
              <a:gd name="connsiteY34" fmla="*/ 6354 h 9860"/>
              <a:gd name="connsiteX35" fmla="*/ 3365 w 10000"/>
              <a:gd name="connsiteY35" fmla="*/ 7042 h 9860"/>
              <a:gd name="connsiteX36" fmla="*/ 2617 w 10000"/>
              <a:gd name="connsiteY36" fmla="*/ 7528 h 9860"/>
              <a:gd name="connsiteX37" fmla="*/ 1936 w 10000"/>
              <a:gd name="connsiteY37" fmla="*/ 7982 h 9860"/>
              <a:gd name="connsiteX38" fmla="*/ 1177 w 10000"/>
              <a:gd name="connsiteY38" fmla="*/ 8388 h 9860"/>
              <a:gd name="connsiteX39" fmla="*/ 496 w 10000"/>
              <a:gd name="connsiteY39" fmla="*/ 8717 h 9860"/>
              <a:gd name="connsiteX40" fmla="*/ 0 w 10000"/>
              <a:gd name="connsiteY40" fmla="*/ 8905 h 9860"/>
              <a:gd name="connsiteX0" fmla="*/ 1824 w 10000"/>
              <a:gd name="connsiteY0" fmla="*/ 9808 h 9808"/>
              <a:gd name="connsiteX1" fmla="*/ 2512 w 10000"/>
              <a:gd name="connsiteY1" fmla="*/ 9571 h 9808"/>
              <a:gd name="connsiteX2" fmla="*/ 3243 w 10000"/>
              <a:gd name="connsiteY2" fmla="*/ 9270 h 9808"/>
              <a:gd name="connsiteX3" fmla="*/ 3967 w 10000"/>
              <a:gd name="connsiteY3" fmla="*/ 8888 h 9808"/>
              <a:gd name="connsiteX4" fmla="*/ 4526 w 10000"/>
              <a:gd name="connsiteY4" fmla="*/ 8572 h 9808"/>
              <a:gd name="connsiteX5" fmla="*/ 5265 w 10000"/>
              <a:gd name="connsiteY5" fmla="*/ 8016 h 9808"/>
              <a:gd name="connsiteX6" fmla="*/ 5825 w 10000"/>
              <a:gd name="connsiteY6" fmla="*/ 7556 h 9808"/>
              <a:gd name="connsiteX7" fmla="*/ 6401 w 10000"/>
              <a:gd name="connsiteY7" fmla="*/ 7000 h 9808"/>
              <a:gd name="connsiteX8" fmla="*/ 7010 w 10000"/>
              <a:gd name="connsiteY8" fmla="*/ 6380 h 9808"/>
              <a:gd name="connsiteX9" fmla="*/ 7315 w 10000"/>
              <a:gd name="connsiteY9" fmla="*/ 5984 h 9808"/>
              <a:gd name="connsiteX10" fmla="*/ 7664 w 10000"/>
              <a:gd name="connsiteY10" fmla="*/ 5492 h 9808"/>
              <a:gd name="connsiteX11" fmla="*/ 7949 w 10000"/>
              <a:gd name="connsiteY11" fmla="*/ 5031 h 9808"/>
              <a:gd name="connsiteX12" fmla="*/ 8170 w 10000"/>
              <a:gd name="connsiteY12" fmla="*/ 4602 h 9808"/>
              <a:gd name="connsiteX13" fmla="*/ 8389 w 10000"/>
              <a:gd name="connsiteY13" fmla="*/ 4255 h 9808"/>
              <a:gd name="connsiteX14" fmla="*/ 9224 w 10000"/>
              <a:gd name="connsiteY14" fmla="*/ 5683 h 9808"/>
              <a:gd name="connsiteX15" fmla="*/ 9224 w 10000"/>
              <a:gd name="connsiteY15" fmla="*/ 4857 h 9808"/>
              <a:gd name="connsiteX16" fmla="*/ 9277 w 10000"/>
              <a:gd name="connsiteY16" fmla="*/ 3905 h 9808"/>
              <a:gd name="connsiteX17" fmla="*/ 9364 w 10000"/>
              <a:gd name="connsiteY17" fmla="*/ 2937 h 9808"/>
              <a:gd name="connsiteX18" fmla="*/ 9539 w 10000"/>
              <a:gd name="connsiteY18" fmla="*/ 1873 h 9808"/>
              <a:gd name="connsiteX19" fmla="*/ 9704 w 10000"/>
              <a:gd name="connsiteY19" fmla="*/ 1016 h 9808"/>
              <a:gd name="connsiteX20" fmla="*/ 10000 w 10000"/>
              <a:gd name="connsiteY20" fmla="*/ 0 h 9808"/>
              <a:gd name="connsiteX21" fmla="*/ 9364 w 10000"/>
              <a:gd name="connsiteY21" fmla="*/ 413 h 9808"/>
              <a:gd name="connsiteX22" fmla="*/ 8719 w 10000"/>
              <a:gd name="connsiteY22" fmla="*/ 762 h 9808"/>
              <a:gd name="connsiteX23" fmla="*/ 7995 w 10000"/>
              <a:gd name="connsiteY23" fmla="*/ 1032 h 9808"/>
              <a:gd name="connsiteX24" fmla="*/ 7359 w 10000"/>
              <a:gd name="connsiteY24" fmla="*/ 1207 h 9808"/>
              <a:gd name="connsiteX25" fmla="*/ 6992 w 10000"/>
              <a:gd name="connsiteY25" fmla="*/ 1270 h 9808"/>
              <a:gd name="connsiteX26" fmla="*/ 6199 w 10000"/>
              <a:gd name="connsiteY26" fmla="*/ 1522 h 9808"/>
              <a:gd name="connsiteX27" fmla="*/ 7340 w 10000"/>
              <a:gd name="connsiteY27" fmla="*/ 2650 h 9808"/>
              <a:gd name="connsiteX28" fmla="*/ 6956 w 10000"/>
              <a:gd name="connsiteY28" fmla="*/ 3349 h 9808"/>
              <a:gd name="connsiteX29" fmla="*/ 6519 w 10000"/>
              <a:gd name="connsiteY29" fmla="*/ 3952 h 9808"/>
              <a:gd name="connsiteX30" fmla="*/ 6035 w 10000"/>
              <a:gd name="connsiteY30" fmla="*/ 4619 h 9808"/>
              <a:gd name="connsiteX31" fmla="*/ 5448 w 10000"/>
              <a:gd name="connsiteY31" fmla="*/ 5254 h 9808"/>
              <a:gd name="connsiteX32" fmla="*/ 4813 w 10000"/>
              <a:gd name="connsiteY32" fmla="*/ 5905 h 9808"/>
              <a:gd name="connsiteX33" fmla="*/ 4221 w 10000"/>
              <a:gd name="connsiteY33" fmla="*/ 6444 h 9808"/>
              <a:gd name="connsiteX34" fmla="*/ 3365 w 10000"/>
              <a:gd name="connsiteY34" fmla="*/ 7142 h 9808"/>
              <a:gd name="connsiteX35" fmla="*/ 2617 w 10000"/>
              <a:gd name="connsiteY35" fmla="*/ 7635 h 9808"/>
              <a:gd name="connsiteX36" fmla="*/ 1936 w 10000"/>
              <a:gd name="connsiteY36" fmla="*/ 8095 h 9808"/>
              <a:gd name="connsiteX37" fmla="*/ 1177 w 10000"/>
              <a:gd name="connsiteY37" fmla="*/ 8507 h 9808"/>
              <a:gd name="connsiteX38" fmla="*/ 496 w 10000"/>
              <a:gd name="connsiteY38" fmla="*/ 8841 h 9808"/>
              <a:gd name="connsiteX39" fmla="*/ 0 w 10000"/>
              <a:gd name="connsiteY39" fmla="*/ 9031 h 9808"/>
              <a:gd name="connsiteX0" fmla="*/ 2512 w 10000"/>
              <a:gd name="connsiteY0" fmla="*/ 9758 h 9758"/>
              <a:gd name="connsiteX1" fmla="*/ 3243 w 10000"/>
              <a:gd name="connsiteY1" fmla="*/ 9451 h 9758"/>
              <a:gd name="connsiteX2" fmla="*/ 3967 w 10000"/>
              <a:gd name="connsiteY2" fmla="*/ 9062 h 9758"/>
              <a:gd name="connsiteX3" fmla="*/ 4526 w 10000"/>
              <a:gd name="connsiteY3" fmla="*/ 8740 h 9758"/>
              <a:gd name="connsiteX4" fmla="*/ 5265 w 10000"/>
              <a:gd name="connsiteY4" fmla="*/ 8173 h 9758"/>
              <a:gd name="connsiteX5" fmla="*/ 5825 w 10000"/>
              <a:gd name="connsiteY5" fmla="*/ 7704 h 9758"/>
              <a:gd name="connsiteX6" fmla="*/ 6401 w 10000"/>
              <a:gd name="connsiteY6" fmla="*/ 7137 h 9758"/>
              <a:gd name="connsiteX7" fmla="*/ 7010 w 10000"/>
              <a:gd name="connsiteY7" fmla="*/ 6505 h 9758"/>
              <a:gd name="connsiteX8" fmla="*/ 7315 w 10000"/>
              <a:gd name="connsiteY8" fmla="*/ 6101 h 9758"/>
              <a:gd name="connsiteX9" fmla="*/ 7664 w 10000"/>
              <a:gd name="connsiteY9" fmla="*/ 5600 h 9758"/>
              <a:gd name="connsiteX10" fmla="*/ 7949 w 10000"/>
              <a:gd name="connsiteY10" fmla="*/ 5129 h 9758"/>
              <a:gd name="connsiteX11" fmla="*/ 8170 w 10000"/>
              <a:gd name="connsiteY11" fmla="*/ 4692 h 9758"/>
              <a:gd name="connsiteX12" fmla="*/ 8389 w 10000"/>
              <a:gd name="connsiteY12" fmla="*/ 4338 h 9758"/>
              <a:gd name="connsiteX13" fmla="*/ 9224 w 10000"/>
              <a:gd name="connsiteY13" fmla="*/ 5794 h 9758"/>
              <a:gd name="connsiteX14" fmla="*/ 9224 w 10000"/>
              <a:gd name="connsiteY14" fmla="*/ 4952 h 9758"/>
              <a:gd name="connsiteX15" fmla="*/ 9277 w 10000"/>
              <a:gd name="connsiteY15" fmla="*/ 3981 h 9758"/>
              <a:gd name="connsiteX16" fmla="*/ 9364 w 10000"/>
              <a:gd name="connsiteY16" fmla="*/ 2994 h 9758"/>
              <a:gd name="connsiteX17" fmla="*/ 9539 w 10000"/>
              <a:gd name="connsiteY17" fmla="*/ 1910 h 9758"/>
              <a:gd name="connsiteX18" fmla="*/ 9704 w 10000"/>
              <a:gd name="connsiteY18" fmla="*/ 1036 h 9758"/>
              <a:gd name="connsiteX19" fmla="*/ 10000 w 10000"/>
              <a:gd name="connsiteY19" fmla="*/ 0 h 9758"/>
              <a:gd name="connsiteX20" fmla="*/ 9364 w 10000"/>
              <a:gd name="connsiteY20" fmla="*/ 421 h 9758"/>
              <a:gd name="connsiteX21" fmla="*/ 8719 w 10000"/>
              <a:gd name="connsiteY21" fmla="*/ 777 h 9758"/>
              <a:gd name="connsiteX22" fmla="*/ 7995 w 10000"/>
              <a:gd name="connsiteY22" fmla="*/ 1052 h 9758"/>
              <a:gd name="connsiteX23" fmla="*/ 7359 w 10000"/>
              <a:gd name="connsiteY23" fmla="*/ 1231 h 9758"/>
              <a:gd name="connsiteX24" fmla="*/ 6992 w 10000"/>
              <a:gd name="connsiteY24" fmla="*/ 1295 h 9758"/>
              <a:gd name="connsiteX25" fmla="*/ 6199 w 10000"/>
              <a:gd name="connsiteY25" fmla="*/ 1552 h 9758"/>
              <a:gd name="connsiteX26" fmla="*/ 7340 w 10000"/>
              <a:gd name="connsiteY26" fmla="*/ 2702 h 9758"/>
              <a:gd name="connsiteX27" fmla="*/ 6956 w 10000"/>
              <a:gd name="connsiteY27" fmla="*/ 3415 h 9758"/>
              <a:gd name="connsiteX28" fmla="*/ 6519 w 10000"/>
              <a:gd name="connsiteY28" fmla="*/ 4029 h 9758"/>
              <a:gd name="connsiteX29" fmla="*/ 6035 w 10000"/>
              <a:gd name="connsiteY29" fmla="*/ 4709 h 9758"/>
              <a:gd name="connsiteX30" fmla="*/ 5448 w 10000"/>
              <a:gd name="connsiteY30" fmla="*/ 5357 h 9758"/>
              <a:gd name="connsiteX31" fmla="*/ 4813 w 10000"/>
              <a:gd name="connsiteY31" fmla="*/ 6021 h 9758"/>
              <a:gd name="connsiteX32" fmla="*/ 4221 w 10000"/>
              <a:gd name="connsiteY32" fmla="*/ 6570 h 9758"/>
              <a:gd name="connsiteX33" fmla="*/ 3365 w 10000"/>
              <a:gd name="connsiteY33" fmla="*/ 7282 h 9758"/>
              <a:gd name="connsiteX34" fmla="*/ 2617 w 10000"/>
              <a:gd name="connsiteY34" fmla="*/ 7784 h 9758"/>
              <a:gd name="connsiteX35" fmla="*/ 1936 w 10000"/>
              <a:gd name="connsiteY35" fmla="*/ 8253 h 9758"/>
              <a:gd name="connsiteX36" fmla="*/ 1177 w 10000"/>
              <a:gd name="connsiteY36" fmla="*/ 8674 h 9758"/>
              <a:gd name="connsiteX37" fmla="*/ 496 w 10000"/>
              <a:gd name="connsiteY37" fmla="*/ 9014 h 9758"/>
              <a:gd name="connsiteX38" fmla="*/ 0 w 10000"/>
              <a:gd name="connsiteY38" fmla="*/ 9208 h 9758"/>
              <a:gd name="connsiteX0" fmla="*/ 3243 w 10000"/>
              <a:gd name="connsiteY0" fmla="*/ 9685 h 9685"/>
              <a:gd name="connsiteX1" fmla="*/ 3967 w 10000"/>
              <a:gd name="connsiteY1" fmla="*/ 9287 h 9685"/>
              <a:gd name="connsiteX2" fmla="*/ 4526 w 10000"/>
              <a:gd name="connsiteY2" fmla="*/ 8957 h 9685"/>
              <a:gd name="connsiteX3" fmla="*/ 5265 w 10000"/>
              <a:gd name="connsiteY3" fmla="*/ 8376 h 9685"/>
              <a:gd name="connsiteX4" fmla="*/ 5825 w 10000"/>
              <a:gd name="connsiteY4" fmla="*/ 7895 h 9685"/>
              <a:gd name="connsiteX5" fmla="*/ 6401 w 10000"/>
              <a:gd name="connsiteY5" fmla="*/ 7314 h 9685"/>
              <a:gd name="connsiteX6" fmla="*/ 7010 w 10000"/>
              <a:gd name="connsiteY6" fmla="*/ 6666 h 9685"/>
              <a:gd name="connsiteX7" fmla="*/ 7315 w 10000"/>
              <a:gd name="connsiteY7" fmla="*/ 6252 h 9685"/>
              <a:gd name="connsiteX8" fmla="*/ 7664 w 10000"/>
              <a:gd name="connsiteY8" fmla="*/ 5739 h 9685"/>
              <a:gd name="connsiteX9" fmla="*/ 7949 w 10000"/>
              <a:gd name="connsiteY9" fmla="*/ 5256 h 9685"/>
              <a:gd name="connsiteX10" fmla="*/ 8170 w 10000"/>
              <a:gd name="connsiteY10" fmla="*/ 4808 h 9685"/>
              <a:gd name="connsiteX11" fmla="*/ 8389 w 10000"/>
              <a:gd name="connsiteY11" fmla="*/ 4446 h 9685"/>
              <a:gd name="connsiteX12" fmla="*/ 9224 w 10000"/>
              <a:gd name="connsiteY12" fmla="*/ 5938 h 9685"/>
              <a:gd name="connsiteX13" fmla="*/ 9224 w 10000"/>
              <a:gd name="connsiteY13" fmla="*/ 5075 h 9685"/>
              <a:gd name="connsiteX14" fmla="*/ 9277 w 10000"/>
              <a:gd name="connsiteY14" fmla="*/ 4080 h 9685"/>
              <a:gd name="connsiteX15" fmla="*/ 9364 w 10000"/>
              <a:gd name="connsiteY15" fmla="*/ 3068 h 9685"/>
              <a:gd name="connsiteX16" fmla="*/ 9539 w 10000"/>
              <a:gd name="connsiteY16" fmla="*/ 1957 h 9685"/>
              <a:gd name="connsiteX17" fmla="*/ 9704 w 10000"/>
              <a:gd name="connsiteY17" fmla="*/ 1062 h 9685"/>
              <a:gd name="connsiteX18" fmla="*/ 10000 w 10000"/>
              <a:gd name="connsiteY18" fmla="*/ 0 h 9685"/>
              <a:gd name="connsiteX19" fmla="*/ 9364 w 10000"/>
              <a:gd name="connsiteY19" fmla="*/ 431 h 9685"/>
              <a:gd name="connsiteX20" fmla="*/ 8719 w 10000"/>
              <a:gd name="connsiteY20" fmla="*/ 796 h 9685"/>
              <a:gd name="connsiteX21" fmla="*/ 7995 w 10000"/>
              <a:gd name="connsiteY21" fmla="*/ 1078 h 9685"/>
              <a:gd name="connsiteX22" fmla="*/ 7359 w 10000"/>
              <a:gd name="connsiteY22" fmla="*/ 1262 h 9685"/>
              <a:gd name="connsiteX23" fmla="*/ 6992 w 10000"/>
              <a:gd name="connsiteY23" fmla="*/ 1327 h 9685"/>
              <a:gd name="connsiteX24" fmla="*/ 6199 w 10000"/>
              <a:gd name="connsiteY24" fmla="*/ 1590 h 9685"/>
              <a:gd name="connsiteX25" fmla="*/ 7340 w 10000"/>
              <a:gd name="connsiteY25" fmla="*/ 2769 h 9685"/>
              <a:gd name="connsiteX26" fmla="*/ 6956 w 10000"/>
              <a:gd name="connsiteY26" fmla="*/ 3500 h 9685"/>
              <a:gd name="connsiteX27" fmla="*/ 6519 w 10000"/>
              <a:gd name="connsiteY27" fmla="*/ 4129 h 9685"/>
              <a:gd name="connsiteX28" fmla="*/ 6035 w 10000"/>
              <a:gd name="connsiteY28" fmla="*/ 4826 h 9685"/>
              <a:gd name="connsiteX29" fmla="*/ 5448 w 10000"/>
              <a:gd name="connsiteY29" fmla="*/ 5490 h 9685"/>
              <a:gd name="connsiteX30" fmla="*/ 4813 w 10000"/>
              <a:gd name="connsiteY30" fmla="*/ 6170 h 9685"/>
              <a:gd name="connsiteX31" fmla="*/ 4221 w 10000"/>
              <a:gd name="connsiteY31" fmla="*/ 6733 h 9685"/>
              <a:gd name="connsiteX32" fmla="*/ 3365 w 10000"/>
              <a:gd name="connsiteY32" fmla="*/ 7463 h 9685"/>
              <a:gd name="connsiteX33" fmla="*/ 2617 w 10000"/>
              <a:gd name="connsiteY33" fmla="*/ 7977 h 9685"/>
              <a:gd name="connsiteX34" fmla="*/ 1936 w 10000"/>
              <a:gd name="connsiteY34" fmla="*/ 8458 h 9685"/>
              <a:gd name="connsiteX35" fmla="*/ 1177 w 10000"/>
              <a:gd name="connsiteY35" fmla="*/ 8889 h 9685"/>
              <a:gd name="connsiteX36" fmla="*/ 496 w 10000"/>
              <a:gd name="connsiteY36" fmla="*/ 9238 h 9685"/>
              <a:gd name="connsiteX37" fmla="*/ 0 w 10000"/>
              <a:gd name="connsiteY37" fmla="*/ 9436 h 9685"/>
              <a:gd name="connsiteX0" fmla="*/ 2747 w 9504"/>
              <a:gd name="connsiteY0" fmla="*/ 10000 h 10000"/>
              <a:gd name="connsiteX1" fmla="*/ 3471 w 9504"/>
              <a:gd name="connsiteY1" fmla="*/ 9589 h 10000"/>
              <a:gd name="connsiteX2" fmla="*/ 4030 w 9504"/>
              <a:gd name="connsiteY2" fmla="*/ 9248 h 10000"/>
              <a:gd name="connsiteX3" fmla="*/ 4769 w 9504"/>
              <a:gd name="connsiteY3" fmla="*/ 8648 h 10000"/>
              <a:gd name="connsiteX4" fmla="*/ 5329 w 9504"/>
              <a:gd name="connsiteY4" fmla="*/ 8152 h 10000"/>
              <a:gd name="connsiteX5" fmla="*/ 5905 w 9504"/>
              <a:gd name="connsiteY5" fmla="*/ 7552 h 10000"/>
              <a:gd name="connsiteX6" fmla="*/ 6514 w 9504"/>
              <a:gd name="connsiteY6" fmla="*/ 6883 h 10000"/>
              <a:gd name="connsiteX7" fmla="*/ 6819 w 9504"/>
              <a:gd name="connsiteY7" fmla="*/ 6455 h 10000"/>
              <a:gd name="connsiteX8" fmla="*/ 7168 w 9504"/>
              <a:gd name="connsiteY8" fmla="*/ 5926 h 10000"/>
              <a:gd name="connsiteX9" fmla="*/ 7453 w 9504"/>
              <a:gd name="connsiteY9" fmla="*/ 5427 h 10000"/>
              <a:gd name="connsiteX10" fmla="*/ 7674 w 9504"/>
              <a:gd name="connsiteY10" fmla="*/ 4964 h 10000"/>
              <a:gd name="connsiteX11" fmla="*/ 7893 w 9504"/>
              <a:gd name="connsiteY11" fmla="*/ 4591 h 10000"/>
              <a:gd name="connsiteX12" fmla="*/ 8728 w 9504"/>
              <a:gd name="connsiteY12" fmla="*/ 6131 h 10000"/>
              <a:gd name="connsiteX13" fmla="*/ 8728 w 9504"/>
              <a:gd name="connsiteY13" fmla="*/ 5240 h 10000"/>
              <a:gd name="connsiteX14" fmla="*/ 8781 w 9504"/>
              <a:gd name="connsiteY14" fmla="*/ 4213 h 10000"/>
              <a:gd name="connsiteX15" fmla="*/ 8868 w 9504"/>
              <a:gd name="connsiteY15" fmla="*/ 3168 h 10000"/>
              <a:gd name="connsiteX16" fmla="*/ 9043 w 9504"/>
              <a:gd name="connsiteY16" fmla="*/ 2021 h 10000"/>
              <a:gd name="connsiteX17" fmla="*/ 9208 w 9504"/>
              <a:gd name="connsiteY17" fmla="*/ 1097 h 10000"/>
              <a:gd name="connsiteX18" fmla="*/ 9504 w 9504"/>
              <a:gd name="connsiteY18" fmla="*/ 0 h 10000"/>
              <a:gd name="connsiteX19" fmla="*/ 8868 w 9504"/>
              <a:gd name="connsiteY19" fmla="*/ 445 h 10000"/>
              <a:gd name="connsiteX20" fmla="*/ 8223 w 9504"/>
              <a:gd name="connsiteY20" fmla="*/ 822 h 10000"/>
              <a:gd name="connsiteX21" fmla="*/ 7499 w 9504"/>
              <a:gd name="connsiteY21" fmla="*/ 1113 h 10000"/>
              <a:gd name="connsiteX22" fmla="*/ 6863 w 9504"/>
              <a:gd name="connsiteY22" fmla="*/ 1303 h 10000"/>
              <a:gd name="connsiteX23" fmla="*/ 6496 w 9504"/>
              <a:gd name="connsiteY23" fmla="*/ 1370 h 10000"/>
              <a:gd name="connsiteX24" fmla="*/ 5703 w 9504"/>
              <a:gd name="connsiteY24" fmla="*/ 1642 h 10000"/>
              <a:gd name="connsiteX25" fmla="*/ 6844 w 9504"/>
              <a:gd name="connsiteY25" fmla="*/ 2859 h 10000"/>
              <a:gd name="connsiteX26" fmla="*/ 6460 w 9504"/>
              <a:gd name="connsiteY26" fmla="*/ 3614 h 10000"/>
              <a:gd name="connsiteX27" fmla="*/ 6023 w 9504"/>
              <a:gd name="connsiteY27" fmla="*/ 4263 h 10000"/>
              <a:gd name="connsiteX28" fmla="*/ 5539 w 9504"/>
              <a:gd name="connsiteY28" fmla="*/ 4983 h 10000"/>
              <a:gd name="connsiteX29" fmla="*/ 4952 w 9504"/>
              <a:gd name="connsiteY29" fmla="*/ 5669 h 10000"/>
              <a:gd name="connsiteX30" fmla="*/ 4317 w 9504"/>
              <a:gd name="connsiteY30" fmla="*/ 6371 h 10000"/>
              <a:gd name="connsiteX31" fmla="*/ 3725 w 9504"/>
              <a:gd name="connsiteY31" fmla="*/ 6952 h 10000"/>
              <a:gd name="connsiteX32" fmla="*/ 2869 w 9504"/>
              <a:gd name="connsiteY32" fmla="*/ 7706 h 10000"/>
              <a:gd name="connsiteX33" fmla="*/ 2121 w 9504"/>
              <a:gd name="connsiteY33" fmla="*/ 8236 h 10000"/>
              <a:gd name="connsiteX34" fmla="*/ 1440 w 9504"/>
              <a:gd name="connsiteY34" fmla="*/ 8733 h 10000"/>
              <a:gd name="connsiteX35" fmla="*/ 681 w 9504"/>
              <a:gd name="connsiteY35" fmla="*/ 9178 h 10000"/>
              <a:gd name="connsiteX36" fmla="*/ 0 w 9504"/>
              <a:gd name="connsiteY36" fmla="*/ 9538 h 10000"/>
              <a:gd name="connsiteX0" fmla="*/ 2173 w 9283"/>
              <a:gd name="connsiteY0" fmla="*/ 10000 h 10000"/>
              <a:gd name="connsiteX1" fmla="*/ 2935 w 9283"/>
              <a:gd name="connsiteY1" fmla="*/ 9589 h 10000"/>
              <a:gd name="connsiteX2" fmla="*/ 3523 w 9283"/>
              <a:gd name="connsiteY2" fmla="*/ 9248 h 10000"/>
              <a:gd name="connsiteX3" fmla="*/ 4301 w 9283"/>
              <a:gd name="connsiteY3" fmla="*/ 8648 h 10000"/>
              <a:gd name="connsiteX4" fmla="*/ 4890 w 9283"/>
              <a:gd name="connsiteY4" fmla="*/ 8152 h 10000"/>
              <a:gd name="connsiteX5" fmla="*/ 5496 w 9283"/>
              <a:gd name="connsiteY5" fmla="*/ 7552 h 10000"/>
              <a:gd name="connsiteX6" fmla="*/ 6137 w 9283"/>
              <a:gd name="connsiteY6" fmla="*/ 6883 h 10000"/>
              <a:gd name="connsiteX7" fmla="*/ 6458 w 9283"/>
              <a:gd name="connsiteY7" fmla="*/ 6455 h 10000"/>
              <a:gd name="connsiteX8" fmla="*/ 6825 w 9283"/>
              <a:gd name="connsiteY8" fmla="*/ 5926 h 10000"/>
              <a:gd name="connsiteX9" fmla="*/ 7125 w 9283"/>
              <a:gd name="connsiteY9" fmla="*/ 5427 h 10000"/>
              <a:gd name="connsiteX10" fmla="*/ 7357 w 9283"/>
              <a:gd name="connsiteY10" fmla="*/ 4964 h 10000"/>
              <a:gd name="connsiteX11" fmla="*/ 7588 w 9283"/>
              <a:gd name="connsiteY11" fmla="*/ 4591 h 10000"/>
              <a:gd name="connsiteX12" fmla="*/ 8467 w 9283"/>
              <a:gd name="connsiteY12" fmla="*/ 6131 h 10000"/>
              <a:gd name="connsiteX13" fmla="*/ 8467 w 9283"/>
              <a:gd name="connsiteY13" fmla="*/ 5240 h 10000"/>
              <a:gd name="connsiteX14" fmla="*/ 8522 w 9283"/>
              <a:gd name="connsiteY14" fmla="*/ 4213 h 10000"/>
              <a:gd name="connsiteX15" fmla="*/ 8614 w 9283"/>
              <a:gd name="connsiteY15" fmla="*/ 3168 h 10000"/>
              <a:gd name="connsiteX16" fmla="*/ 8798 w 9283"/>
              <a:gd name="connsiteY16" fmla="*/ 2021 h 10000"/>
              <a:gd name="connsiteX17" fmla="*/ 8972 w 9283"/>
              <a:gd name="connsiteY17" fmla="*/ 1097 h 10000"/>
              <a:gd name="connsiteX18" fmla="*/ 9283 w 9283"/>
              <a:gd name="connsiteY18" fmla="*/ 0 h 10000"/>
              <a:gd name="connsiteX19" fmla="*/ 8614 w 9283"/>
              <a:gd name="connsiteY19" fmla="*/ 445 h 10000"/>
              <a:gd name="connsiteX20" fmla="*/ 7935 w 9283"/>
              <a:gd name="connsiteY20" fmla="*/ 822 h 10000"/>
              <a:gd name="connsiteX21" fmla="*/ 7173 w 9283"/>
              <a:gd name="connsiteY21" fmla="*/ 1113 h 10000"/>
              <a:gd name="connsiteX22" fmla="*/ 6504 w 9283"/>
              <a:gd name="connsiteY22" fmla="*/ 1303 h 10000"/>
              <a:gd name="connsiteX23" fmla="*/ 6118 w 9283"/>
              <a:gd name="connsiteY23" fmla="*/ 1370 h 10000"/>
              <a:gd name="connsiteX24" fmla="*/ 5284 w 9283"/>
              <a:gd name="connsiteY24" fmla="*/ 1642 h 10000"/>
              <a:gd name="connsiteX25" fmla="*/ 6484 w 9283"/>
              <a:gd name="connsiteY25" fmla="*/ 2859 h 10000"/>
              <a:gd name="connsiteX26" fmla="*/ 6080 w 9283"/>
              <a:gd name="connsiteY26" fmla="*/ 3614 h 10000"/>
              <a:gd name="connsiteX27" fmla="*/ 5620 w 9283"/>
              <a:gd name="connsiteY27" fmla="*/ 4263 h 10000"/>
              <a:gd name="connsiteX28" fmla="*/ 5111 w 9283"/>
              <a:gd name="connsiteY28" fmla="*/ 4983 h 10000"/>
              <a:gd name="connsiteX29" fmla="*/ 4493 w 9283"/>
              <a:gd name="connsiteY29" fmla="*/ 5669 h 10000"/>
              <a:gd name="connsiteX30" fmla="*/ 3825 w 9283"/>
              <a:gd name="connsiteY30" fmla="*/ 6371 h 10000"/>
              <a:gd name="connsiteX31" fmla="*/ 3202 w 9283"/>
              <a:gd name="connsiteY31" fmla="*/ 6952 h 10000"/>
              <a:gd name="connsiteX32" fmla="*/ 2302 w 9283"/>
              <a:gd name="connsiteY32" fmla="*/ 7706 h 10000"/>
              <a:gd name="connsiteX33" fmla="*/ 1515 w 9283"/>
              <a:gd name="connsiteY33" fmla="*/ 8236 h 10000"/>
              <a:gd name="connsiteX34" fmla="*/ 798 w 9283"/>
              <a:gd name="connsiteY34" fmla="*/ 8733 h 10000"/>
              <a:gd name="connsiteX35" fmla="*/ 0 w 9283"/>
              <a:gd name="connsiteY35" fmla="*/ 9178 h 10000"/>
              <a:gd name="connsiteX0" fmla="*/ 1481 w 9140"/>
              <a:gd name="connsiteY0" fmla="*/ 10000 h 10000"/>
              <a:gd name="connsiteX1" fmla="*/ 2302 w 9140"/>
              <a:gd name="connsiteY1" fmla="*/ 9589 h 10000"/>
              <a:gd name="connsiteX2" fmla="*/ 2935 w 9140"/>
              <a:gd name="connsiteY2" fmla="*/ 9248 h 10000"/>
              <a:gd name="connsiteX3" fmla="*/ 3773 w 9140"/>
              <a:gd name="connsiteY3" fmla="*/ 8648 h 10000"/>
              <a:gd name="connsiteX4" fmla="*/ 4408 w 9140"/>
              <a:gd name="connsiteY4" fmla="*/ 8152 h 10000"/>
              <a:gd name="connsiteX5" fmla="*/ 5060 w 9140"/>
              <a:gd name="connsiteY5" fmla="*/ 7552 h 10000"/>
              <a:gd name="connsiteX6" fmla="*/ 5751 w 9140"/>
              <a:gd name="connsiteY6" fmla="*/ 6883 h 10000"/>
              <a:gd name="connsiteX7" fmla="*/ 6097 w 9140"/>
              <a:gd name="connsiteY7" fmla="*/ 6455 h 10000"/>
              <a:gd name="connsiteX8" fmla="*/ 6492 w 9140"/>
              <a:gd name="connsiteY8" fmla="*/ 5926 h 10000"/>
              <a:gd name="connsiteX9" fmla="*/ 6815 w 9140"/>
              <a:gd name="connsiteY9" fmla="*/ 5427 h 10000"/>
              <a:gd name="connsiteX10" fmla="*/ 7065 w 9140"/>
              <a:gd name="connsiteY10" fmla="*/ 4964 h 10000"/>
              <a:gd name="connsiteX11" fmla="*/ 7314 w 9140"/>
              <a:gd name="connsiteY11" fmla="*/ 4591 h 10000"/>
              <a:gd name="connsiteX12" fmla="*/ 8261 w 9140"/>
              <a:gd name="connsiteY12" fmla="*/ 6131 h 10000"/>
              <a:gd name="connsiteX13" fmla="*/ 8261 w 9140"/>
              <a:gd name="connsiteY13" fmla="*/ 5240 h 10000"/>
              <a:gd name="connsiteX14" fmla="*/ 8320 w 9140"/>
              <a:gd name="connsiteY14" fmla="*/ 4213 h 10000"/>
              <a:gd name="connsiteX15" fmla="*/ 8419 w 9140"/>
              <a:gd name="connsiteY15" fmla="*/ 3168 h 10000"/>
              <a:gd name="connsiteX16" fmla="*/ 8618 w 9140"/>
              <a:gd name="connsiteY16" fmla="*/ 2021 h 10000"/>
              <a:gd name="connsiteX17" fmla="*/ 8805 w 9140"/>
              <a:gd name="connsiteY17" fmla="*/ 1097 h 10000"/>
              <a:gd name="connsiteX18" fmla="*/ 9140 w 9140"/>
              <a:gd name="connsiteY18" fmla="*/ 0 h 10000"/>
              <a:gd name="connsiteX19" fmla="*/ 8419 w 9140"/>
              <a:gd name="connsiteY19" fmla="*/ 445 h 10000"/>
              <a:gd name="connsiteX20" fmla="*/ 7688 w 9140"/>
              <a:gd name="connsiteY20" fmla="*/ 822 h 10000"/>
              <a:gd name="connsiteX21" fmla="*/ 6867 w 9140"/>
              <a:gd name="connsiteY21" fmla="*/ 1113 h 10000"/>
              <a:gd name="connsiteX22" fmla="*/ 6146 w 9140"/>
              <a:gd name="connsiteY22" fmla="*/ 1303 h 10000"/>
              <a:gd name="connsiteX23" fmla="*/ 5731 w 9140"/>
              <a:gd name="connsiteY23" fmla="*/ 1370 h 10000"/>
              <a:gd name="connsiteX24" fmla="*/ 4832 w 9140"/>
              <a:gd name="connsiteY24" fmla="*/ 1642 h 10000"/>
              <a:gd name="connsiteX25" fmla="*/ 6125 w 9140"/>
              <a:gd name="connsiteY25" fmla="*/ 2859 h 10000"/>
              <a:gd name="connsiteX26" fmla="*/ 5690 w 9140"/>
              <a:gd name="connsiteY26" fmla="*/ 3614 h 10000"/>
              <a:gd name="connsiteX27" fmla="*/ 5194 w 9140"/>
              <a:gd name="connsiteY27" fmla="*/ 4263 h 10000"/>
              <a:gd name="connsiteX28" fmla="*/ 4646 w 9140"/>
              <a:gd name="connsiteY28" fmla="*/ 4983 h 10000"/>
              <a:gd name="connsiteX29" fmla="*/ 3980 w 9140"/>
              <a:gd name="connsiteY29" fmla="*/ 5669 h 10000"/>
              <a:gd name="connsiteX30" fmla="*/ 3260 w 9140"/>
              <a:gd name="connsiteY30" fmla="*/ 6371 h 10000"/>
              <a:gd name="connsiteX31" fmla="*/ 2589 w 9140"/>
              <a:gd name="connsiteY31" fmla="*/ 6952 h 10000"/>
              <a:gd name="connsiteX32" fmla="*/ 1620 w 9140"/>
              <a:gd name="connsiteY32" fmla="*/ 7706 h 10000"/>
              <a:gd name="connsiteX33" fmla="*/ 772 w 9140"/>
              <a:gd name="connsiteY33" fmla="*/ 8236 h 10000"/>
              <a:gd name="connsiteX34" fmla="*/ 0 w 9140"/>
              <a:gd name="connsiteY34" fmla="*/ 8733 h 10000"/>
              <a:gd name="connsiteX0" fmla="*/ 775 w 9155"/>
              <a:gd name="connsiteY0" fmla="*/ 10000 h 10000"/>
              <a:gd name="connsiteX1" fmla="*/ 1674 w 9155"/>
              <a:gd name="connsiteY1" fmla="*/ 9589 h 10000"/>
              <a:gd name="connsiteX2" fmla="*/ 2366 w 9155"/>
              <a:gd name="connsiteY2" fmla="*/ 9248 h 10000"/>
              <a:gd name="connsiteX3" fmla="*/ 3283 w 9155"/>
              <a:gd name="connsiteY3" fmla="*/ 8648 h 10000"/>
              <a:gd name="connsiteX4" fmla="*/ 3978 w 9155"/>
              <a:gd name="connsiteY4" fmla="*/ 8152 h 10000"/>
              <a:gd name="connsiteX5" fmla="*/ 4691 w 9155"/>
              <a:gd name="connsiteY5" fmla="*/ 7552 h 10000"/>
              <a:gd name="connsiteX6" fmla="*/ 5447 w 9155"/>
              <a:gd name="connsiteY6" fmla="*/ 6883 h 10000"/>
              <a:gd name="connsiteX7" fmla="*/ 5826 w 9155"/>
              <a:gd name="connsiteY7" fmla="*/ 6455 h 10000"/>
              <a:gd name="connsiteX8" fmla="*/ 6258 w 9155"/>
              <a:gd name="connsiteY8" fmla="*/ 5926 h 10000"/>
              <a:gd name="connsiteX9" fmla="*/ 6611 w 9155"/>
              <a:gd name="connsiteY9" fmla="*/ 5427 h 10000"/>
              <a:gd name="connsiteX10" fmla="*/ 6885 w 9155"/>
              <a:gd name="connsiteY10" fmla="*/ 4964 h 10000"/>
              <a:gd name="connsiteX11" fmla="*/ 7157 w 9155"/>
              <a:gd name="connsiteY11" fmla="*/ 4591 h 10000"/>
              <a:gd name="connsiteX12" fmla="*/ 8193 w 9155"/>
              <a:gd name="connsiteY12" fmla="*/ 6131 h 10000"/>
              <a:gd name="connsiteX13" fmla="*/ 8193 w 9155"/>
              <a:gd name="connsiteY13" fmla="*/ 5240 h 10000"/>
              <a:gd name="connsiteX14" fmla="*/ 8258 w 9155"/>
              <a:gd name="connsiteY14" fmla="*/ 4213 h 10000"/>
              <a:gd name="connsiteX15" fmla="*/ 8366 w 9155"/>
              <a:gd name="connsiteY15" fmla="*/ 3168 h 10000"/>
              <a:gd name="connsiteX16" fmla="*/ 8584 w 9155"/>
              <a:gd name="connsiteY16" fmla="*/ 2021 h 10000"/>
              <a:gd name="connsiteX17" fmla="*/ 8788 w 9155"/>
              <a:gd name="connsiteY17" fmla="*/ 1097 h 10000"/>
              <a:gd name="connsiteX18" fmla="*/ 9155 w 9155"/>
              <a:gd name="connsiteY18" fmla="*/ 0 h 10000"/>
              <a:gd name="connsiteX19" fmla="*/ 8366 w 9155"/>
              <a:gd name="connsiteY19" fmla="*/ 445 h 10000"/>
              <a:gd name="connsiteX20" fmla="*/ 7566 w 9155"/>
              <a:gd name="connsiteY20" fmla="*/ 822 h 10000"/>
              <a:gd name="connsiteX21" fmla="*/ 6668 w 9155"/>
              <a:gd name="connsiteY21" fmla="*/ 1113 h 10000"/>
              <a:gd name="connsiteX22" fmla="*/ 5879 w 9155"/>
              <a:gd name="connsiteY22" fmla="*/ 1303 h 10000"/>
              <a:gd name="connsiteX23" fmla="*/ 5425 w 9155"/>
              <a:gd name="connsiteY23" fmla="*/ 1370 h 10000"/>
              <a:gd name="connsiteX24" fmla="*/ 4442 w 9155"/>
              <a:gd name="connsiteY24" fmla="*/ 1642 h 10000"/>
              <a:gd name="connsiteX25" fmla="*/ 5856 w 9155"/>
              <a:gd name="connsiteY25" fmla="*/ 2859 h 10000"/>
              <a:gd name="connsiteX26" fmla="*/ 5380 w 9155"/>
              <a:gd name="connsiteY26" fmla="*/ 3614 h 10000"/>
              <a:gd name="connsiteX27" fmla="*/ 4838 w 9155"/>
              <a:gd name="connsiteY27" fmla="*/ 4263 h 10000"/>
              <a:gd name="connsiteX28" fmla="*/ 4238 w 9155"/>
              <a:gd name="connsiteY28" fmla="*/ 4983 h 10000"/>
              <a:gd name="connsiteX29" fmla="*/ 3509 w 9155"/>
              <a:gd name="connsiteY29" fmla="*/ 5669 h 10000"/>
              <a:gd name="connsiteX30" fmla="*/ 2722 w 9155"/>
              <a:gd name="connsiteY30" fmla="*/ 6371 h 10000"/>
              <a:gd name="connsiteX31" fmla="*/ 1988 w 9155"/>
              <a:gd name="connsiteY31" fmla="*/ 6952 h 10000"/>
              <a:gd name="connsiteX32" fmla="*/ 927 w 9155"/>
              <a:gd name="connsiteY32" fmla="*/ 7706 h 10000"/>
              <a:gd name="connsiteX33" fmla="*/ 0 w 9155"/>
              <a:gd name="connsiteY33" fmla="*/ 8236 h 10000"/>
              <a:gd name="connsiteX0" fmla="*/ 1058 w 10211"/>
              <a:gd name="connsiteY0" fmla="*/ 10000 h 10000"/>
              <a:gd name="connsiteX1" fmla="*/ 2040 w 10211"/>
              <a:gd name="connsiteY1" fmla="*/ 9589 h 10000"/>
              <a:gd name="connsiteX2" fmla="*/ 2795 w 10211"/>
              <a:gd name="connsiteY2" fmla="*/ 9248 h 10000"/>
              <a:gd name="connsiteX3" fmla="*/ 3797 w 10211"/>
              <a:gd name="connsiteY3" fmla="*/ 8648 h 10000"/>
              <a:gd name="connsiteX4" fmla="*/ 4556 w 10211"/>
              <a:gd name="connsiteY4" fmla="*/ 8152 h 10000"/>
              <a:gd name="connsiteX5" fmla="*/ 5335 w 10211"/>
              <a:gd name="connsiteY5" fmla="*/ 7552 h 10000"/>
              <a:gd name="connsiteX6" fmla="*/ 6161 w 10211"/>
              <a:gd name="connsiteY6" fmla="*/ 6883 h 10000"/>
              <a:gd name="connsiteX7" fmla="*/ 6575 w 10211"/>
              <a:gd name="connsiteY7" fmla="*/ 6455 h 10000"/>
              <a:gd name="connsiteX8" fmla="*/ 7047 w 10211"/>
              <a:gd name="connsiteY8" fmla="*/ 5926 h 10000"/>
              <a:gd name="connsiteX9" fmla="*/ 7432 w 10211"/>
              <a:gd name="connsiteY9" fmla="*/ 5427 h 10000"/>
              <a:gd name="connsiteX10" fmla="*/ 7731 w 10211"/>
              <a:gd name="connsiteY10" fmla="*/ 4964 h 10000"/>
              <a:gd name="connsiteX11" fmla="*/ 8029 w 10211"/>
              <a:gd name="connsiteY11" fmla="*/ 4591 h 10000"/>
              <a:gd name="connsiteX12" fmla="*/ 9160 w 10211"/>
              <a:gd name="connsiteY12" fmla="*/ 6131 h 10000"/>
              <a:gd name="connsiteX13" fmla="*/ 9160 w 10211"/>
              <a:gd name="connsiteY13" fmla="*/ 5240 h 10000"/>
              <a:gd name="connsiteX14" fmla="*/ 9231 w 10211"/>
              <a:gd name="connsiteY14" fmla="*/ 4213 h 10000"/>
              <a:gd name="connsiteX15" fmla="*/ 9349 w 10211"/>
              <a:gd name="connsiteY15" fmla="*/ 3168 h 10000"/>
              <a:gd name="connsiteX16" fmla="*/ 9587 w 10211"/>
              <a:gd name="connsiteY16" fmla="*/ 2021 h 10000"/>
              <a:gd name="connsiteX17" fmla="*/ 9810 w 10211"/>
              <a:gd name="connsiteY17" fmla="*/ 1097 h 10000"/>
              <a:gd name="connsiteX18" fmla="*/ 10211 w 10211"/>
              <a:gd name="connsiteY18" fmla="*/ 0 h 10000"/>
              <a:gd name="connsiteX19" fmla="*/ 9349 w 10211"/>
              <a:gd name="connsiteY19" fmla="*/ 445 h 10000"/>
              <a:gd name="connsiteX20" fmla="*/ 8475 w 10211"/>
              <a:gd name="connsiteY20" fmla="*/ 822 h 10000"/>
              <a:gd name="connsiteX21" fmla="*/ 7494 w 10211"/>
              <a:gd name="connsiteY21" fmla="*/ 1113 h 10000"/>
              <a:gd name="connsiteX22" fmla="*/ 6633 w 10211"/>
              <a:gd name="connsiteY22" fmla="*/ 1303 h 10000"/>
              <a:gd name="connsiteX23" fmla="*/ 6137 w 10211"/>
              <a:gd name="connsiteY23" fmla="*/ 1370 h 10000"/>
              <a:gd name="connsiteX24" fmla="*/ 5063 w 10211"/>
              <a:gd name="connsiteY24" fmla="*/ 1642 h 10000"/>
              <a:gd name="connsiteX25" fmla="*/ 6608 w 10211"/>
              <a:gd name="connsiteY25" fmla="*/ 2859 h 10000"/>
              <a:gd name="connsiteX26" fmla="*/ 6088 w 10211"/>
              <a:gd name="connsiteY26" fmla="*/ 3614 h 10000"/>
              <a:gd name="connsiteX27" fmla="*/ 5496 w 10211"/>
              <a:gd name="connsiteY27" fmla="*/ 4263 h 10000"/>
              <a:gd name="connsiteX28" fmla="*/ 4840 w 10211"/>
              <a:gd name="connsiteY28" fmla="*/ 4983 h 10000"/>
              <a:gd name="connsiteX29" fmla="*/ 4044 w 10211"/>
              <a:gd name="connsiteY29" fmla="*/ 5669 h 10000"/>
              <a:gd name="connsiteX30" fmla="*/ 3184 w 10211"/>
              <a:gd name="connsiteY30" fmla="*/ 6371 h 10000"/>
              <a:gd name="connsiteX31" fmla="*/ 2382 w 10211"/>
              <a:gd name="connsiteY31" fmla="*/ 6952 h 10000"/>
              <a:gd name="connsiteX32" fmla="*/ 1224 w 10211"/>
              <a:gd name="connsiteY32" fmla="*/ 7706 h 10000"/>
              <a:gd name="connsiteX33" fmla="*/ 0 w 10211"/>
              <a:gd name="connsiteY33" fmla="*/ 9440 h 10000"/>
              <a:gd name="connsiteX0" fmla="*/ 1091 w 10211"/>
              <a:gd name="connsiteY0" fmla="*/ 9838 h 9838"/>
              <a:gd name="connsiteX1" fmla="*/ 2040 w 10211"/>
              <a:gd name="connsiteY1" fmla="*/ 9589 h 9838"/>
              <a:gd name="connsiteX2" fmla="*/ 2795 w 10211"/>
              <a:gd name="connsiteY2" fmla="*/ 9248 h 9838"/>
              <a:gd name="connsiteX3" fmla="*/ 3797 w 10211"/>
              <a:gd name="connsiteY3" fmla="*/ 8648 h 9838"/>
              <a:gd name="connsiteX4" fmla="*/ 4556 w 10211"/>
              <a:gd name="connsiteY4" fmla="*/ 8152 h 9838"/>
              <a:gd name="connsiteX5" fmla="*/ 5335 w 10211"/>
              <a:gd name="connsiteY5" fmla="*/ 7552 h 9838"/>
              <a:gd name="connsiteX6" fmla="*/ 6161 w 10211"/>
              <a:gd name="connsiteY6" fmla="*/ 6883 h 9838"/>
              <a:gd name="connsiteX7" fmla="*/ 6575 w 10211"/>
              <a:gd name="connsiteY7" fmla="*/ 6455 h 9838"/>
              <a:gd name="connsiteX8" fmla="*/ 7047 w 10211"/>
              <a:gd name="connsiteY8" fmla="*/ 5926 h 9838"/>
              <a:gd name="connsiteX9" fmla="*/ 7432 w 10211"/>
              <a:gd name="connsiteY9" fmla="*/ 5427 h 9838"/>
              <a:gd name="connsiteX10" fmla="*/ 7731 w 10211"/>
              <a:gd name="connsiteY10" fmla="*/ 4964 h 9838"/>
              <a:gd name="connsiteX11" fmla="*/ 8029 w 10211"/>
              <a:gd name="connsiteY11" fmla="*/ 4591 h 9838"/>
              <a:gd name="connsiteX12" fmla="*/ 9160 w 10211"/>
              <a:gd name="connsiteY12" fmla="*/ 6131 h 9838"/>
              <a:gd name="connsiteX13" fmla="*/ 9160 w 10211"/>
              <a:gd name="connsiteY13" fmla="*/ 5240 h 9838"/>
              <a:gd name="connsiteX14" fmla="*/ 9231 w 10211"/>
              <a:gd name="connsiteY14" fmla="*/ 4213 h 9838"/>
              <a:gd name="connsiteX15" fmla="*/ 9349 w 10211"/>
              <a:gd name="connsiteY15" fmla="*/ 3168 h 9838"/>
              <a:gd name="connsiteX16" fmla="*/ 9587 w 10211"/>
              <a:gd name="connsiteY16" fmla="*/ 2021 h 9838"/>
              <a:gd name="connsiteX17" fmla="*/ 9810 w 10211"/>
              <a:gd name="connsiteY17" fmla="*/ 1097 h 9838"/>
              <a:gd name="connsiteX18" fmla="*/ 10211 w 10211"/>
              <a:gd name="connsiteY18" fmla="*/ 0 h 9838"/>
              <a:gd name="connsiteX19" fmla="*/ 9349 w 10211"/>
              <a:gd name="connsiteY19" fmla="*/ 445 h 9838"/>
              <a:gd name="connsiteX20" fmla="*/ 8475 w 10211"/>
              <a:gd name="connsiteY20" fmla="*/ 822 h 9838"/>
              <a:gd name="connsiteX21" fmla="*/ 7494 w 10211"/>
              <a:gd name="connsiteY21" fmla="*/ 1113 h 9838"/>
              <a:gd name="connsiteX22" fmla="*/ 6633 w 10211"/>
              <a:gd name="connsiteY22" fmla="*/ 1303 h 9838"/>
              <a:gd name="connsiteX23" fmla="*/ 6137 w 10211"/>
              <a:gd name="connsiteY23" fmla="*/ 1370 h 9838"/>
              <a:gd name="connsiteX24" fmla="*/ 5063 w 10211"/>
              <a:gd name="connsiteY24" fmla="*/ 1642 h 9838"/>
              <a:gd name="connsiteX25" fmla="*/ 6608 w 10211"/>
              <a:gd name="connsiteY25" fmla="*/ 2859 h 9838"/>
              <a:gd name="connsiteX26" fmla="*/ 6088 w 10211"/>
              <a:gd name="connsiteY26" fmla="*/ 3614 h 9838"/>
              <a:gd name="connsiteX27" fmla="*/ 5496 w 10211"/>
              <a:gd name="connsiteY27" fmla="*/ 4263 h 9838"/>
              <a:gd name="connsiteX28" fmla="*/ 4840 w 10211"/>
              <a:gd name="connsiteY28" fmla="*/ 4983 h 9838"/>
              <a:gd name="connsiteX29" fmla="*/ 4044 w 10211"/>
              <a:gd name="connsiteY29" fmla="*/ 5669 h 9838"/>
              <a:gd name="connsiteX30" fmla="*/ 3184 w 10211"/>
              <a:gd name="connsiteY30" fmla="*/ 6371 h 9838"/>
              <a:gd name="connsiteX31" fmla="*/ 2382 w 10211"/>
              <a:gd name="connsiteY31" fmla="*/ 6952 h 9838"/>
              <a:gd name="connsiteX32" fmla="*/ 1224 w 10211"/>
              <a:gd name="connsiteY32" fmla="*/ 7706 h 9838"/>
              <a:gd name="connsiteX33" fmla="*/ 0 w 10211"/>
              <a:gd name="connsiteY33" fmla="*/ 9440 h 9838"/>
              <a:gd name="connsiteX0" fmla="*/ 40 w 8972"/>
              <a:gd name="connsiteY0" fmla="*/ 10000 h 10081"/>
              <a:gd name="connsiteX1" fmla="*/ 970 w 8972"/>
              <a:gd name="connsiteY1" fmla="*/ 9747 h 10081"/>
              <a:gd name="connsiteX2" fmla="*/ 1709 w 8972"/>
              <a:gd name="connsiteY2" fmla="*/ 9400 h 10081"/>
              <a:gd name="connsiteX3" fmla="*/ 2691 w 8972"/>
              <a:gd name="connsiteY3" fmla="*/ 8790 h 10081"/>
              <a:gd name="connsiteX4" fmla="*/ 3434 w 8972"/>
              <a:gd name="connsiteY4" fmla="*/ 8286 h 10081"/>
              <a:gd name="connsiteX5" fmla="*/ 4197 w 8972"/>
              <a:gd name="connsiteY5" fmla="*/ 7676 h 10081"/>
              <a:gd name="connsiteX6" fmla="*/ 5006 w 8972"/>
              <a:gd name="connsiteY6" fmla="*/ 6996 h 10081"/>
              <a:gd name="connsiteX7" fmla="*/ 5411 w 8972"/>
              <a:gd name="connsiteY7" fmla="*/ 6561 h 10081"/>
              <a:gd name="connsiteX8" fmla="*/ 5873 w 8972"/>
              <a:gd name="connsiteY8" fmla="*/ 6024 h 10081"/>
              <a:gd name="connsiteX9" fmla="*/ 6250 w 8972"/>
              <a:gd name="connsiteY9" fmla="*/ 5516 h 10081"/>
              <a:gd name="connsiteX10" fmla="*/ 6543 w 8972"/>
              <a:gd name="connsiteY10" fmla="*/ 5046 h 10081"/>
              <a:gd name="connsiteX11" fmla="*/ 6835 w 8972"/>
              <a:gd name="connsiteY11" fmla="*/ 4667 h 10081"/>
              <a:gd name="connsiteX12" fmla="*/ 7943 w 8972"/>
              <a:gd name="connsiteY12" fmla="*/ 6232 h 10081"/>
              <a:gd name="connsiteX13" fmla="*/ 7943 w 8972"/>
              <a:gd name="connsiteY13" fmla="*/ 5326 h 10081"/>
              <a:gd name="connsiteX14" fmla="*/ 8012 w 8972"/>
              <a:gd name="connsiteY14" fmla="*/ 4282 h 10081"/>
              <a:gd name="connsiteX15" fmla="*/ 8128 w 8972"/>
              <a:gd name="connsiteY15" fmla="*/ 3220 h 10081"/>
              <a:gd name="connsiteX16" fmla="*/ 8361 w 8972"/>
              <a:gd name="connsiteY16" fmla="*/ 2054 h 10081"/>
              <a:gd name="connsiteX17" fmla="*/ 8579 w 8972"/>
              <a:gd name="connsiteY17" fmla="*/ 1115 h 10081"/>
              <a:gd name="connsiteX18" fmla="*/ 8972 w 8972"/>
              <a:gd name="connsiteY18" fmla="*/ 0 h 10081"/>
              <a:gd name="connsiteX19" fmla="*/ 8128 w 8972"/>
              <a:gd name="connsiteY19" fmla="*/ 452 h 10081"/>
              <a:gd name="connsiteX20" fmla="*/ 7272 w 8972"/>
              <a:gd name="connsiteY20" fmla="*/ 836 h 10081"/>
              <a:gd name="connsiteX21" fmla="*/ 6311 w 8972"/>
              <a:gd name="connsiteY21" fmla="*/ 1131 h 10081"/>
              <a:gd name="connsiteX22" fmla="*/ 5468 w 8972"/>
              <a:gd name="connsiteY22" fmla="*/ 1324 h 10081"/>
              <a:gd name="connsiteX23" fmla="*/ 4982 w 8972"/>
              <a:gd name="connsiteY23" fmla="*/ 1393 h 10081"/>
              <a:gd name="connsiteX24" fmla="*/ 3930 w 8972"/>
              <a:gd name="connsiteY24" fmla="*/ 1669 h 10081"/>
              <a:gd name="connsiteX25" fmla="*/ 5443 w 8972"/>
              <a:gd name="connsiteY25" fmla="*/ 2906 h 10081"/>
              <a:gd name="connsiteX26" fmla="*/ 4934 w 8972"/>
              <a:gd name="connsiteY26" fmla="*/ 3674 h 10081"/>
              <a:gd name="connsiteX27" fmla="*/ 4354 w 8972"/>
              <a:gd name="connsiteY27" fmla="*/ 4333 h 10081"/>
              <a:gd name="connsiteX28" fmla="*/ 3712 w 8972"/>
              <a:gd name="connsiteY28" fmla="*/ 5065 h 10081"/>
              <a:gd name="connsiteX29" fmla="*/ 2932 w 8972"/>
              <a:gd name="connsiteY29" fmla="*/ 5762 h 10081"/>
              <a:gd name="connsiteX30" fmla="*/ 2090 w 8972"/>
              <a:gd name="connsiteY30" fmla="*/ 6476 h 10081"/>
              <a:gd name="connsiteX31" fmla="*/ 1305 w 8972"/>
              <a:gd name="connsiteY31" fmla="*/ 7066 h 10081"/>
              <a:gd name="connsiteX32" fmla="*/ 171 w 8972"/>
              <a:gd name="connsiteY32" fmla="*/ 7833 h 10081"/>
              <a:gd name="connsiteX33" fmla="*/ 0 w 8972"/>
              <a:gd name="connsiteY33" fmla="*/ 10081 h 10081"/>
              <a:gd name="connsiteX0" fmla="*/ 45 w 10000"/>
              <a:gd name="connsiteY0" fmla="*/ 9920 h 10000"/>
              <a:gd name="connsiteX1" fmla="*/ 1081 w 10000"/>
              <a:gd name="connsiteY1" fmla="*/ 9669 h 10000"/>
              <a:gd name="connsiteX2" fmla="*/ 1905 w 10000"/>
              <a:gd name="connsiteY2" fmla="*/ 9324 h 10000"/>
              <a:gd name="connsiteX3" fmla="*/ 2999 w 10000"/>
              <a:gd name="connsiteY3" fmla="*/ 8719 h 10000"/>
              <a:gd name="connsiteX4" fmla="*/ 3827 w 10000"/>
              <a:gd name="connsiteY4" fmla="*/ 8219 h 10000"/>
              <a:gd name="connsiteX5" fmla="*/ 4678 w 10000"/>
              <a:gd name="connsiteY5" fmla="*/ 7614 h 10000"/>
              <a:gd name="connsiteX6" fmla="*/ 5580 w 10000"/>
              <a:gd name="connsiteY6" fmla="*/ 6940 h 10000"/>
              <a:gd name="connsiteX7" fmla="*/ 6031 w 10000"/>
              <a:gd name="connsiteY7" fmla="*/ 6508 h 10000"/>
              <a:gd name="connsiteX8" fmla="*/ 6546 w 10000"/>
              <a:gd name="connsiteY8" fmla="*/ 5976 h 10000"/>
              <a:gd name="connsiteX9" fmla="*/ 6966 w 10000"/>
              <a:gd name="connsiteY9" fmla="*/ 5472 h 10000"/>
              <a:gd name="connsiteX10" fmla="*/ 7293 w 10000"/>
              <a:gd name="connsiteY10" fmla="*/ 5005 h 10000"/>
              <a:gd name="connsiteX11" fmla="*/ 7618 w 10000"/>
              <a:gd name="connsiteY11" fmla="*/ 4630 h 10000"/>
              <a:gd name="connsiteX12" fmla="*/ 8853 w 10000"/>
              <a:gd name="connsiteY12" fmla="*/ 6182 h 10000"/>
              <a:gd name="connsiteX13" fmla="*/ 8853 w 10000"/>
              <a:gd name="connsiteY13" fmla="*/ 5283 h 10000"/>
              <a:gd name="connsiteX14" fmla="*/ 8930 w 10000"/>
              <a:gd name="connsiteY14" fmla="*/ 4248 h 10000"/>
              <a:gd name="connsiteX15" fmla="*/ 9059 w 10000"/>
              <a:gd name="connsiteY15" fmla="*/ 3194 h 10000"/>
              <a:gd name="connsiteX16" fmla="*/ 9319 w 10000"/>
              <a:gd name="connsiteY16" fmla="*/ 2037 h 10000"/>
              <a:gd name="connsiteX17" fmla="*/ 9562 w 10000"/>
              <a:gd name="connsiteY17" fmla="*/ 1106 h 10000"/>
              <a:gd name="connsiteX18" fmla="*/ 10000 w 10000"/>
              <a:gd name="connsiteY18" fmla="*/ 0 h 10000"/>
              <a:gd name="connsiteX19" fmla="*/ 9059 w 10000"/>
              <a:gd name="connsiteY19" fmla="*/ 448 h 10000"/>
              <a:gd name="connsiteX20" fmla="*/ 8105 w 10000"/>
              <a:gd name="connsiteY20" fmla="*/ 829 h 10000"/>
              <a:gd name="connsiteX21" fmla="*/ 7034 w 10000"/>
              <a:gd name="connsiteY21" fmla="*/ 1122 h 10000"/>
              <a:gd name="connsiteX22" fmla="*/ 6095 w 10000"/>
              <a:gd name="connsiteY22" fmla="*/ 1313 h 10000"/>
              <a:gd name="connsiteX23" fmla="*/ 5553 w 10000"/>
              <a:gd name="connsiteY23" fmla="*/ 1382 h 10000"/>
              <a:gd name="connsiteX24" fmla="*/ 4380 w 10000"/>
              <a:gd name="connsiteY24" fmla="*/ 1656 h 10000"/>
              <a:gd name="connsiteX25" fmla="*/ 6067 w 10000"/>
              <a:gd name="connsiteY25" fmla="*/ 2883 h 10000"/>
              <a:gd name="connsiteX26" fmla="*/ 5499 w 10000"/>
              <a:gd name="connsiteY26" fmla="*/ 3644 h 10000"/>
              <a:gd name="connsiteX27" fmla="*/ 4853 w 10000"/>
              <a:gd name="connsiteY27" fmla="*/ 4298 h 10000"/>
              <a:gd name="connsiteX28" fmla="*/ 4137 w 10000"/>
              <a:gd name="connsiteY28" fmla="*/ 5024 h 10000"/>
              <a:gd name="connsiteX29" fmla="*/ 3268 w 10000"/>
              <a:gd name="connsiteY29" fmla="*/ 5716 h 10000"/>
              <a:gd name="connsiteX30" fmla="*/ 2329 w 10000"/>
              <a:gd name="connsiteY30" fmla="*/ 6424 h 10000"/>
              <a:gd name="connsiteX31" fmla="*/ 1455 w 10000"/>
              <a:gd name="connsiteY31" fmla="*/ 7009 h 10000"/>
              <a:gd name="connsiteX32" fmla="*/ 624 w 10000"/>
              <a:gd name="connsiteY32" fmla="*/ 8006 h 10000"/>
              <a:gd name="connsiteX33" fmla="*/ 0 w 10000"/>
              <a:gd name="connsiteY33" fmla="*/ 10000 h 10000"/>
              <a:gd name="connsiteX0" fmla="*/ 45 w 10000"/>
              <a:gd name="connsiteY0" fmla="*/ 9920 h 10000"/>
              <a:gd name="connsiteX1" fmla="*/ 1081 w 10000"/>
              <a:gd name="connsiteY1" fmla="*/ 9669 h 10000"/>
              <a:gd name="connsiteX2" fmla="*/ 1905 w 10000"/>
              <a:gd name="connsiteY2" fmla="*/ 9324 h 10000"/>
              <a:gd name="connsiteX3" fmla="*/ 2999 w 10000"/>
              <a:gd name="connsiteY3" fmla="*/ 8719 h 10000"/>
              <a:gd name="connsiteX4" fmla="*/ 3827 w 10000"/>
              <a:gd name="connsiteY4" fmla="*/ 8219 h 10000"/>
              <a:gd name="connsiteX5" fmla="*/ 4678 w 10000"/>
              <a:gd name="connsiteY5" fmla="*/ 7614 h 10000"/>
              <a:gd name="connsiteX6" fmla="*/ 5580 w 10000"/>
              <a:gd name="connsiteY6" fmla="*/ 6940 h 10000"/>
              <a:gd name="connsiteX7" fmla="*/ 6031 w 10000"/>
              <a:gd name="connsiteY7" fmla="*/ 6508 h 10000"/>
              <a:gd name="connsiteX8" fmla="*/ 6546 w 10000"/>
              <a:gd name="connsiteY8" fmla="*/ 5976 h 10000"/>
              <a:gd name="connsiteX9" fmla="*/ 6966 w 10000"/>
              <a:gd name="connsiteY9" fmla="*/ 5472 h 10000"/>
              <a:gd name="connsiteX10" fmla="*/ 7293 w 10000"/>
              <a:gd name="connsiteY10" fmla="*/ 5005 h 10000"/>
              <a:gd name="connsiteX11" fmla="*/ 7618 w 10000"/>
              <a:gd name="connsiteY11" fmla="*/ 4630 h 10000"/>
              <a:gd name="connsiteX12" fmla="*/ 8853 w 10000"/>
              <a:gd name="connsiteY12" fmla="*/ 6182 h 10000"/>
              <a:gd name="connsiteX13" fmla="*/ 8853 w 10000"/>
              <a:gd name="connsiteY13" fmla="*/ 5283 h 10000"/>
              <a:gd name="connsiteX14" fmla="*/ 8930 w 10000"/>
              <a:gd name="connsiteY14" fmla="*/ 4248 h 10000"/>
              <a:gd name="connsiteX15" fmla="*/ 9059 w 10000"/>
              <a:gd name="connsiteY15" fmla="*/ 3194 h 10000"/>
              <a:gd name="connsiteX16" fmla="*/ 9319 w 10000"/>
              <a:gd name="connsiteY16" fmla="*/ 2037 h 10000"/>
              <a:gd name="connsiteX17" fmla="*/ 9562 w 10000"/>
              <a:gd name="connsiteY17" fmla="*/ 1106 h 10000"/>
              <a:gd name="connsiteX18" fmla="*/ 10000 w 10000"/>
              <a:gd name="connsiteY18" fmla="*/ 0 h 10000"/>
              <a:gd name="connsiteX19" fmla="*/ 9059 w 10000"/>
              <a:gd name="connsiteY19" fmla="*/ 448 h 10000"/>
              <a:gd name="connsiteX20" fmla="*/ 8105 w 10000"/>
              <a:gd name="connsiteY20" fmla="*/ 829 h 10000"/>
              <a:gd name="connsiteX21" fmla="*/ 7034 w 10000"/>
              <a:gd name="connsiteY21" fmla="*/ 1122 h 10000"/>
              <a:gd name="connsiteX22" fmla="*/ 6095 w 10000"/>
              <a:gd name="connsiteY22" fmla="*/ 1313 h 10000"/>
              <a:gd name="connsiteX23" fmla="*/ 5553 w 10000"/>
              <a:gd name="connsiteY23" fmla="*/ 1382 h 10000"/>
              <a:gd name="connsiteX24" fmla="*/ 4380 w 10000"/>
              <a:gd name="connsiteY24" fmla="*/ 1656 h 10000"/>
              <a:gd name="connsiteX25" fmla="*/ 6067 w 10000"/>
              <a:gd name="connsiteY25" fmla="*/ 2883 h 10000"/>
              <a:gd name="connsiteX26" fmla="*/ 5499 w 10000"/>
              <a:gd name="connsiteY26" fmla="*/ 3644 h 10000"/>
              <a:gd name="connsiteX27" fmla="*/ 4853 w 10000"/>
              <a:gd name="connsiteY27" fmla="*/ 4298 h 10000"/>
              <a:gd name="connsiteX28" fmla="*/ 4137 w 10000"/>
              <a:gd name="connsiteY28" fmla="*/ 5024 h 10000"/>
              <a:gd name="connsiteX29" fmla="*/ 3268 w 10000"/>
              <a:gd name="connsiteY29" fmla="*/ 5716 h 10000"/>
              <a:gd name="connsiteX30" fmla="*/ 2329 w 10000"/>
              <a:gd name="connsiteY30" fmla="*/ 6424 h 10000"/>
              <a:gd name="connsiteX31" fmla="*/ 1675 w 10000"/>
              <a:gd name="connsiteY31" fmla="*/ 7111 h 10000"/>
              <a:gd name="connsiteX32" fmla="*/ 624 w 10000"/>
              <a:gd name="connsiteY32" fmla="*/ 8006 h 10000"/>
              <a:gd name="connsiteX33" fmla="*/ 0 w 10000"/>
              <a:gd name="connsiteY33" fmla="*/ 10000 h 10000"/>
              <a:gd name="connsiteX0" fmla="*/ 45 w 10000"/>
              <a:gd name="connsiteY0" fmla="*/ 9920 h 10000"/>
              <a:gd name="connsiteX1" fmla="*/ 1081 w 10000"/>
              <a:gd name="connsiteY1" fmla="*/ 9669 h 10000"/>
              <a:gd name="connsiteX2" fmla="*/ 1905 w 10000"/>
              <a:gd name="connsiteY2" fmla="*/ 9324 h 10000"/>
              <a:gd name="connsiteX3" fmla="*/ 2999 w 10000"/>
              <a:gd name="connsiteY3" fmla="*/ 8719 h 10000"/>
              <a:gd name="connsiteX4" fmla="*/ 3827 w 10000"/>
              <a:gd name="connsiteY4" fmla="*/ 8219 h 10000"/>
              <a:gd name="connsiteX5" fmla="*/ 4678 w 10000"/>
              <a:gd name="connsiteY5" fmla="*/ 7614 h 10000"/>
              <a:gd name="connsiteX6" fmla="*/ 5580 w 10000"/>
              <a:gd name="connsiteY6" fmla="*/ 6940 h 10000"/>
              <a:gd name="connsiteX7" fmla="*/ 6031 w 10000"/>
              <a:gd name="connsiteY7" fmla="*/ 6508 h 10000"/>
              <a:gd name="connsiteX8" fmla="*/ 6546 w 10000"/>
              <a:gd name="connsiteY8" fmla="*/ 5976 h 10000"/>
              <a:gd name="connsiteX9" fmla="*/ 6966 w 10000"/>
              <a:gd name="connsiteY9" fmla="*/ 5472 h 10000"/>
              <a:gd name="connsiteX10" fmla="*/ 7293 w 10000"/>
              <a:gd name="connsiteY10" fmla="*/ 5005 h 10000"/>
              <a:gd name="connsiteX11" fmla="*/ 7618 w 10000"/>
              <a:gd name="connsiteY11" fmla="*/ 4630 h 10000"/>
              <a:gd name="connsiteX12" fmla="*/ 8853 w 10000"/>
              <a:gd name="connsiteY12" fmla="*/ 6182 h 10000"/>
              <a:gd name="connsiteX13" fmla="*/ 8853 w 10000"/>
              <a:gd name="connsiteY13" fmla="*/ 5283 h 10000"/>
              <a:gd name="connsiteX14" fmla="*/ 8930 w 10000"/>
              <a:gd name="connsiteY14" fmla="*/ 4248 h 10000"/>
              <a:gd name="connsiteX15" fmla="*/ 9059 w 10000"/>
              <a:gd name="connsiteY15" fmla="*/ 3194 h 10000"/>
              <a:gd name="connsiteX16" fmla="*/ 9319 w 10000"/>
              <a:gd name="connsiteY16" fmla="*/ 2037 h 10000"/>
              <a:gd name="connsiteX17" fmla="*/ 9562 w 10000"/>
              <a:gd name="connsiteY17" fmla="*/ 1106 h 10000"/>
              <a:gd name="connsiteX18" fmla="*/ 10000 w 10000"/>
              <a:gd name="connsiteY18" fmla="*/ 0 h 10000"/>
              <a:gd name="connsiteX19" fmla="*/ 9059 w 10000"/>
              <a:gd name="connsiteY19" fmla="*/ 448 h 10000"/>
              <a:gd name="connsiteX20" fmla="*/ 8105 w 10000"/>
              <a:gd name="connsiteY20" fmla="*/ 829 h 10000"/>
              <a:gd name="connsiteX21" fmla="*/ 7034 w 10000"/>
              <a:gd name="connsiteY21" fmla="*/ 1122 h 10000"/>
              <a:gd name="connsiteX22" fmla="*/ 6095 w 10000"/>
              <a:gd name="connsiteY22" fmla="*/ 1313 h 10000"/>
              <a:gd name="connsiteX23" fmla="*/ 5553 w 10000"/>
              <a:gd name="connsiteY23" fmla="*/ 1382 h 10000"/>
              <a:gd name="connsiteX24" fmla="*/ 4380 w 10000"/>
              <a:gd name="connsiteY24" fmla="*/ 1656 h 10000"/>
              <a:gd name="connsiteX25" fmla="*/ 6067 w 10000"/>
              <a:gd name="connsiteY25" fmla="*/ 2883 h 10000"/>
              <a:gd name="connsiteX26" fmla="*/ 5499 w 10000"/>
              <a:gd name="connsiteY26" fmla="*/ 3644 h 10000"/>
              <a:gd name="connsiteX27" fmla="*/ 4853 w 10000"/>
              <a:gd name="connsiteY27" fmla="*/ 4298 h 10000"/>
              <a:gd name="connsiteX28" fmla="*/ 4137 w 10000"/>
              <a:gd name="connsiteY28" fmla="*/ 5024 h 10000"/>
              <a:gd name="connsiteX29" fmla="*/ 3268 w 10000"/>
              <a:gd name="connsiteY29" fmla="*/ 5716 h 10000"/>
              <a:gd name="connsiteX30" fmla="*/ 2329 w 10000"/>
              <a:gd name="connsiteY30" fmla="*/ 6424 h 10000"/>
              <a:gd name="connsiteX31" fmla="*/ 1675 w 10000"/>
              <a:gd name="connsiteY31" fmla="*/ 7111 h 10000"/>
              <a:gd name="connsiteX32" fmla="*/ 986 w 10000"/>
              <a:gd name="connsiteY32" fmla="*/ 8197 h 10000"/>
              <a:gd name="connsiteX33" fmla="*/ 0 w 10000"/>
              <a:gd name="connsiteY33" fmla="*/ 10000 h 10000"/>
              <a:gd name="connsiteX0" fmla="*/ 45 w 10000"/>
              <a:gd name="connsiteY0" fmla="*/ 9920 h 10000"/>
              <a:gd name="connsiteX1" fmla="*/ 1081 w 10000"/>
              <a:gd name="connsiteY1" fmla="*/ 9669 h 10000"/>
              <a:gd name="connsiteX2" fmla="*/ 1905 w 10000"/>
              <a:gd name="connsiteY2" fmla="*/ 9324 h 10000"/>
              <a:gd name="connsiteX3" fmla="*/ 2999 w 10000"/>
              <a:gd name="connsiteY3" fmla="*/ 8719 h 10000"/>
              <a:gd name="connsiteX4" fmla="*/ 3827 w 10000"/>
              <a:gd name="connsiteY4" fmla="*/ 8219 h 10000"/>
              <a:gd name="connsiteX5" fmla="*/ 4678 w 10000"/>
              <a:gd name="connsiteY5" fmla="*/ 7614 h 10000"/>
              <a:gd name="connsiteX6" fmla="*/ 5580 w 10000"/>
              <a:gd name="connsiteY6" fmla="*/ 6940 h 10000"/>
              <a:gd name="connsiteX7" fmla="*/ 6031 w 10000"/>
              <a:gd name="connsiteY7" fmla="*/ 6508 h 10000"/>
              <a:gd name="connsiteX8" fmla="*/ 6546 w 10000"/>
              <a:gd name="connsiteY8" fmla="*/ 5976 h 10000"/>
              <a:gd name="connsiteX9" fmla="*/ 6966 w 10000"/>
              <a:gd name="connsiteY9" fmla="*/ 5472 h 10000"/>
              <a:gd name="connsiteX10" fmla="*/ 7293 w 10000"/>
              <a:gd name="connsiteY10" fmla="*/ 5005 h 10000"/>
              <a:gd name="connsiteX11" fmla="*/ 7618 w 10000"/>
              <a:gd name="connsiteY11" fmla="*/ 4630 h 10000"/>
              <a:gd name="connsiteX12" fmla="*/ 8933 w 10000"/>
              <a:gd name="connsiteY12" fmla="*/ 5823 h 10000"/>
              <a:gd name="connsiteX13" fmla="*/ 8853 w 10000"/>
              <a:gd name="connsiteY13" fmla="*/ 5283 h 10000"/>
              <a:gd name="connsiteX14" fmla="*/ 8930 w 10000"/>
              <a:gd name="connsiteY14" fmla="*/ 4248 h 10000"/>
              <a:gd name="connsiteX15" fmla="*/ 9059 w 10000"/>
              <a:gd name="connsiteY15" fmla="*/ 3194 h 10000"/>
              <a:gd name="connsiteX16" fmla="*/ 9319 w 10000"/>
              <a:gd name="connsiteY16" fmla="*/ 2037 h 10000"/>
              <a:gd name="connsiteX17" fmla="*/ 9562 w 10000"/>
              <a:gd name="connsiteY17" fmla="*/ 1106 h 10000"/>
              <a:gd name="connsiteX18" fmla="*/ 10000 w 10000"/>
              <a:gd name="connsiteY18" fmla="*/ 0 h 10000"/>
              <a:gd name="connsiteX19" fmla="*/ 9059 w 10000"/>
              <a:gd name="connsiteY19" fmla="*/ 448 h 10000"/>
              <a:gd name="connsiteX20" fmla="*/ 8105 w 10000"/>
              <a:gd name="connsiteY20" fmla="*/ 829 h 10000"/>
              <a:gd name="connsiteX21" fmla="*/ 7034 w 10000"/>
              <a:gd name="connsiteY21" fmla="*/ 1122 h 10000"/>
              <a:gd name="connsiteX22" fmla="*/ 6095 w 10000"/>
              <a:gd name="connsiteY22" fmla="*/ 1313 h 10000"/>
              <a:gd name="connsiteX23" fmla="*/ 5553 w 10000"/>
              <a:gd name="connsiteY23" fmla="*/ 1382 h 10000"/>
              <a:gd name="connsiteX24" fmla="*/ 4380 w 10000"/>
              <a:gd name="connsiteY24" fmla="*/ 1656 h 10000"/>
              <a:gd name="connsiteX25" fmla="*/ 6067 w 10000"/>
              <a:gd name="connsiteY25" fmla="*/ 2883 h 10000"/>
              <a:gd name="connsiteX26" fmla="*/ 5499 w 10000"/>
              <a:gd name="connsiteY26" fmla="*/ 3644 h 10000"/>
              <a:gd name="connsiteX27" fmla="*/ 4853 w 10000"/>
              <a:gd name="connsiteY27" fmla="*/ 4298 h 10000"/>
              <a:gd name="connsiteX28" fmla="*/ 4137 w 10000"/>
              <a:gd name="connsiteY28" fmla="*/ 5024 h 10000"/>
              <a:gd name="connsiteX29" fmla="*/ 3268 w 10000"/>
              <a:gd name="connsiteY29" fmla="*/ 5716 h 10000"/>
              <a:gd name="connsiteX30" fmla="*/ 2329 w 10000"/>
              <a:gd name="connsiteY30" fmla="*/ 6424 h 10000"/>
              <a:gd name="connsiteX31" fmla="*/ 1675 w 10000"/>
              <a:gd name="connsiteY31" fmla="*/ 7111 h 10000"/>
              <a:gd name="connsiteX32" fmla="*/ 986 w 10000"/>
              <a:gd name="connsiteY32" fmla="*/ 8197 h 10000"/>
              <a:gd name="connsiteX33" fmla="*/ 0 w 10000"/>
              <a:gd name="connsiteY33" fmla="*/ 10000 h 10000"/>
              <a:gd name="connsiteX0" fmla="*/ 45 w 10000"/>
              <a:gd name="connsiteY0" fmla="*/ 9920 h 10000"/>
              <a:gd name="connsiteX1" fmla="*/ 1081 w 10000"/>
              <a:gd name="connsiteY1" fmla="*/ 9669 h 10000"/>
              <a:gd name="connsiteX2" fmla="*/ 1905 w 10000"/>
              <a:gd name="connsiteY2" fmla="*/ 9324 h 10000"/>
              <a:gd name="connsiteX3" fmla="*/ 2999 w 10000"/>
              <a:gd name="connsiteY3" fmla="*/ 8719 h 10000"/>
              <a:gd name="connsiteX4" fmla="*/ 3827 w 10000"/>
              <a:gd name="connsiteY4" fmla="*/ 8219 h 10000"/>
              <a:gd name="connsiteX5" fmla="*/ 4678 w 10000"/>
              <a:gd name="connsiteY5" fmla="*/ 7614 h 10000"/>
              <a:gd name="connsiteX6" fmla="*/ 5580 w 10000"/>
              <a:gd name="connsiteY6" fmla="*/ 6940 h 10000"/>
              <a:gd name="connsiteX7" fmla="*/ 6031 w 10000"/>
              <a:gd name="connsiteY7" fmla="*/ 6508 h 10000"/>
              <a:gd name="connsiteX8" fmla="*/ 6546 w 10000"/>
              <a:gd name="connsiteY8" fmla="*/ 5976 h 10000"/>
              <a:gd name="connsiteX9" fmla="*/ 6966 w 10000"/>
              <a:gd name="connsiteY9" fmla="*/ 5472 h 10000"/>
              <a:gd name="connsiteX10" fmla="*/ 7293 w 10000"/>
              <a:gd name="connsiteY10" fmla="*/ 5005 h 10000"/>
              <a:gd name="connsiteX11" fmla="*/ 7618 w 10000"/>
              <a:gd name="connsiteY11" fmla="*/ 4630 h 10000"/>
              <a:gd name="connsiteX12" fmla="*/ 8933 w 10000"/>
              <a:gd name="connsiteY12" fmla="*/ 5823 h 10000"/>
              <a:gd name="connsiteX13" fmla="*/ 9082 w 10000"/>
              <a:gd name="connsiteY13" fmla="*/ 4981 h 10000"/>
              <a:gd name="connsiteX14" fmla="*/ 8930 w 10000"/>
              <a:gd name="connsiteY14" fmla="*/ 4248 h 10000"/>
              <a:gd name="connsiteX15" fmla="*/ 9059 w 10000"/>
              <a:gd name="connsiteY15" fmla="*/ 3194 h 10000"/>
              <a:gd name="connsiteX16" fmla="*/ 9319 w 10000"/>
              <a:gd name="connsiteY16" fmla="*/ 2037 h 10000"/>
              <a:gd name="connsiteX17" fmla="*/ 9562 w 10000"/>
              <a:gd name="connsiteY17" fmla="*/ 1106 h 10000"/>
              <a:gd name="connsiteX18" fmla="*/ 10000 w 10000"/>
              <a:gd name="connsiteY18" fmla="*/ 0 h 10000"/>
              <a:gd name="connsiteX19" fmla="*/ 9059 w 10000"/>
              <a:gd name="connsiteY19" fmla="*/ 448 h 10000"/>
              <a:gd name="connsiteX20" fmla="*/ 8105 w 10000"/>
              <a:gd name="connsiteY20" fmla="*/ 829 h 10000"/>
              <a:gd name="connsiteX21" fmla="*/ 7034 w 10000"/>
              <a:gd name="connsiteY21" fmla="*/ 1122 h 10000"/>
              <a:gd name="connsiteX22" fmla="*/ 6095 w 10000"/>
              <a:gd name="connsiteY22" fmla="*/ 1313 h 10000"/>
              <a:gd name="connsiteX23" fmla="*/ 5553 w 10000"/>
              <a:gd name="connsiteY23" fmla="*/ 1382 h 10000"/>
              <a:gd name="connsiteX24" fmla="*/ 4380 w 10000"/>
              <a:gd name="connsiteY24" fmla="*/ 1656 h 10000"/>
              <a:gd name="connsiteX25" fmla="*/ 6067 w 10000"/>
              <a:gd name="connsiteY25" fmla="*/ 2883 h 10000"/>
              <a:gd name="connsiteX26" fmla="*/ 5499 w 10000"/>
              <a:gd name="connsiteY26" fmla="*/ 3644 h 10000"/>
              <a:gd name="connsiteX27" fmla="*/ 4853 w 10000"/>
              <a:gd name="connsiteY27" fmla="*/ 4298 h 10000"/>
              <a:gd name="connsiteX28" fmla="*/ 4137 w 10000"/>
              <a:gd name="connsiteY28" fmla="*/ 5024 h 10000"/>
              <a:gd name="connsiteX29" fmla="*/ 3268 w 10000"/>
              <a:gd name="connsiteY29" fmla="*/ 5716 h 10000"/>
              <a:gd name="connsiteX30" fmla="*/ 2329 w 10000"/>
              <a:gd name="connsiteY30" fmla="*/ 6424 h 10000"/>
              <a:gd name="connsiteX31" fmla="*/ 1675 w 10000"/>
              <a:gd name="connsiteY31" fmla="*/ 7111 h 10000"/>
              <a:gd name="connsiteX32" fmla="*/ 986 w 10000"/>
              <a:gd name="connsiteY32" fmla="*/ 8197 h 10000"/>
              <a:gd name="connsiteX33" fmla="*/ 0 w 10000"/>
              <a:gd name="connsiteY33" fmla="*/ 10000 h 10000"/>
              <a:gd name="connsiteX0" fmla="*/ 45 w 10000"/>
              <a:gd name="connsiteY0" fmla="*/ 9920 h 10000"/>
              <a:gd name="connsiteX1" fmla="*/ 1081 w 10000"/>
              <a:gd name="connsiteY1" fmla="*/ 9669 h 10000"/>
              <a:gd name="connsiteX2" fmla="*/ 1905 w 10000"/>
              <a:gd name="connsiteY2" fmla="*/ 9324 h 10000"/>
              <a:gd name="connsiteX3" fmla="*/ 2999 w 10000"/>
              <a:gd name="connsiteY3" fmla="*/ 8719 h 10000"/>
              <a:gd name="connsiteX4" fmla="*/ 3827 w 10000"/>
              <a:gd name="connsiteY4" fmla="*/ 8219 h 10000"/>
              <a:gd name="connsiteX5" fmla="*/ 4678 w 10000"/>
              <a:gd name="connsiteY5" fmla="*/ 7614 h 10000"/>
              <a:gd name="connsiteX6" fmla="*/ 5580 w 10000"/>
              <a:gd name="connsiteY6" fmla="*/ 6940 h 10000"/>
              <a:gd name="connsiteX7" fmla="*/ 6031 w 10000"/>
              <a:gd name="connsiteY7" fmla="*/ 6508 h 10000"/>
              <a:gd name="connsiteX8" fmla="*/ 6546 w 10000"/>
              <a:gd name="connsiteY8" fmla="*/ 5976 h 10000"/>
              <a:gd name="connsiteX9" fmla="*/ 6966 w 10000"/>
              <a:gd name="connsiteY9" fmla="*/ 5472 h 10000"/>
              <a:gd name="connsiteX10" fmla="*/ 7293 w 10000"/>
              <a:gd name="connsiteY10" fmla="*/ 5005 h 10000"/>
              <a:gd name="connsiteX11" fmla="*/ 7618 w 10000"/>
              <a:gd name="connsiteY11" fmla="*/ 4630 h 10000"/>
              <a:gd name="connsiteX12" fmla="*/ 8933 w 10000"/>
              <a:gd name="connsiteY12" fmla="*/ 5823 h 10000"/>
              <a:gd name="connsiteX13" fmla="*/ 9082 w 10000"/>
              <a:gd name="connsiteY13" fmla="*/ 4981 h 10000"/>
              <a:gd name="connsiteX14" fmla="*/ 9137 w 10000"/>
              <a:gd name="connsiteY14" fmla="*/ 4044 h 10000"/>
              <a:gd name="connsiteX15" fmla="*/ 9059 w 10000"/>
              <a:gd name="connsiteY15" fmla="*/ 3194 h 10000"/>
              <a:gd name="connsiteX16" fmla="*/ 9319 w 10000"/>
              <a:gd name="connsiteY16" fmla="*/ 2037 h 10000"/>
              <a:gd name="connsiteX17" fmla="*/ 9562 w 10000"/>
              <a:gd name="connsiteY17" fmla="*/ 1106 h 10000"/>
              <a:gd name="connsiteX18" fmla="*/ 10000 w 10000"/>
              <a:gd name="connsiteY18" fmla="*/ 0 h 10000"/>
              <a:gd name="connsiteX19" fmla="*/ 9059 w 10000"/>
              <a:gd name="connsiteY19" fmla="*/ 448 h 10000"/>
              <a:gd name="connsiteX20" fmla="*/ 8105 w 10000"/>
              <a:gd name="connsiteY20" fmla="*/ 829 h 10000"/>
              <a:gd name="connsiteX21" fmla="*/ 7034 w 10000"/>
              <a:gd name="connsiteY21" fmla="*/ 1122 h 10000"/>
              <a:gd name="connsiteX22" fmla="*/ 6095 w 10000"/>
              <a:gd name="connsiteY22" fmla="*/ 1313 h 10000"/>
              <a:gd name="connsiteX23" fmla="*/ 5553 w 10000"/>
              <a:gd name="connsiteY23" fmla="*/ 1382 h 10000"/>
              <a:gd name="connsiteX24" fmla="*/ 4380 w 10000"/>
              <a:gd name="connsiteY24" fmla="*/ 1656 h 10000"/>
              <a:gd name="connsiteX25" fmla="*/ 6067 w 10000"/>
              <a:gd name="connsiteY25" fmla="*/ 2883 h 10000"/>
              <a:gd name="connsiteX26" fmla="*/ 5499 w 10000"/>
              <a:gd name="connsiteY26" fmla="*/ 3644 h 10000"/>
              <a:gd name="connsiteX27" fmla="*/ 4853 w 10000"/>
              <a:gd name="connsiteY27" fmla="*/ 4298 h 10000"/>
              <a:gd name="connsiteX28" fmla="*/ 4137 w 10000"/>
              <a:gd name="connsiteY28" fmla="*/ 5024 h 10000"/>
              <a:gd name="connsiteX29" fmla="*/ 3268 w 10000"/>
              <a:gd name="connsiteY29" fmla="*/ 5716 h 10000"/>
              <a:gd name="connsiteX30" fmla="*/ 2329 w 10000"/>
              <a:gd name="connsiteY30" fmla="*/ 6424 h 10000"/>
              <a:gd name="connsiteX31" fmla="*/ 1675 w 10000"/>
              <a:gd name="connsiteY31" fmla="*/ 7111 h 10000"/>
              <a:gd name="connsiteX32" fmla="*/ 986 w 10000"/>
              <a:gd name="connsiteY32" fmla="*/ 8197 h 10000"/>
              <a:gd name="connsiteX33" fmla="*/ 0 w 10000"/>
              <a:gd name="connsiteY33" fmla="*/ 10000 h 10000"/>
              <a:gd name="connsiteX0" fmla="*/ 45 w 10000"/>
              <a:gd name="connsiteY0" fmla="*/ 9920 h 10000"/>
              <a:gd name="connsiteX1" fmla="*/ 1081 w 10000"/>
              <a:gd name="connsiteY1" fmla="*/ 9669 h 10000"/>
              <a:gd name="connsiteX2" fmla="*/ 1905 w 10000"/>
              <a:gd name="connsiteY2" fmla="*/ 9324 h 10000"/>
              <a:gd name="connsiteX3" fmla="*/ 2999 w 10000"/>
              <a:gd name="connsiteY3" fmla="*/ 8719 h 10000"/>
              <a:gd name="connsiteX4" fmla="*/ 3827 w 10000"/>
              <a:gd name="connsiteY4" fmla="*/ 8219 h 10000"/>
              <a:gd name="connsiteX5" fmla="*/ 4678 w 10000"/>
              <a:gd name="connsiteY5" fmla="*/ 7614 h 10000"/>
              <a:gd name="connsiteX6" fmla="*/ 5580 w 10000"/>
              <a:gd name="connsiteY6" fmla="*/ 6940 h 10000"/>
              <a:gd name="connsiteX7" fmla="*/ 6031 w 10000"/>
              <a:gd name="connsiteY7" fmla="*/ 6508 h 10000"/>
              <a:gd name="connsiteX8" fmla="*/ 6546 w 10000"/>
              <a:gd name="connsiteY8" fmla="*/ 5976 h 10000"/>
              <a:gd name="connsiteX9" fmla="*/ 6966 w 10000"/>
              <a:gd name="connsiteY9" fmla="*/ 5472 h 10000"/>
              <a:gd name="connsiteX10" fmla="*/ 7293 w 10000"/>
              <a:gd name="connsiteY10" fmla="*/ 5005 h 10000"/>
              <a:gd name="connsiteX11" fmla="*/ 7618 w 10000"/>
              <a:gd name="connsiteY11" fmla="*/ 4630 h 10000"/>
              <a:gd name="connsiteX12" fmla="*/ 8933 w 10000"/>
              <a:gd name="connsiteY12" fmla="*/ 5823 h 10000"/>
              <a:gd name="connsiteX13" fmla="*/ 9082 w 10000"/>
              <a:gd name="connsiteY13" fmla="*/ 4981 h 10000"/>
              <a:gd name="connsiteX14" fmla="*/ 9137 w 10000"/>
              <a:gd name="connsiteY14" fmla="*/ 4044 h 10000"/>
              <a:gd name="connsiteX15" fmla="*/ 9305 w 10000"/>
              <a:gd name="connsiteY15" fmla="*/ 2996 h 10000"/>
              <a:gd name="connsiteX16" fmla="*/ 9319 w 10000"/>
              <a:gd name="connsiteY16" fmla="*/ 2037 h 10000"/>
              <a:gd name="connsiteX17" fmla="*/ 9562 w 10000"/>
              <a:gd name="connsiteY17" fmla="*/ 1106 h 10000"/>
              <a:gd name="connsiteX18" fmla="*/ 10000 w 10000"/>
              <a:gd name="connsiteY18" fmla="*/ 0 h 10000"/>
              <a:gd name="connsiteX19" fmla="*/ 9059 w 10000"/>
              <a:gd name="connsiteY19" fmla="*/ 448 h 10000"/>
              <a:gd name="connsiteX20" fmla="*/ 8105 w 10000"/>
              <a:gd name="connsiteY20" fmla="*/ 829 h 10000"/>
              <a:gd name="connsiteX21" fmla="*/ 7034 w 10000"/>
              <a:gd name="connsiteY21" fmla="*/ 1122 h 10000"/>
              <a:gd name="connsiteX22" fmla="*/ 6095 w 10000"/>
              <a:gd name="connsiteY22" fmla="*/ 1313 h 10000"/>
              <a:gd name="connsiteX23" fmla="*/ 5553 w 10000"/>
              <a:gd name="connsiteY23" fmla="*/ 1382 h 10000"/>
              <a:gd name="connsiteX24" fmla="*/ 4380 w 10000"/>
              <a:gd name="connsiteY24" fmla="*/ 1656 h 10000"/>
              <a:gd name="connsiteX25" fmla="*/ 6067 w 10000"/>
              <a:gd name="connsiteY25" fmla="*/ 2883 h 10000"/>
              <a:gd name="connsiteX26" fmla="*/ 5499 w 10000"/>
              <a:gd name="connsiteY26" fmla="*/ 3644 h 10000"/>
              <a:gd name="connsiteX27" fmla="*/ 4853 w 10000"/>
              <a:gd name="connsiteY27" fmla="*/ 4298 h 10000"/>
              <a:gd name="connsiteX28" fmla="*/ 4137 w 10000"/>
              <a:gd name="connsiteY28" fmla="*/ 5024 h 10000"/>
              <a:gd name="connsiteX29" fmla="*/ 3268 w 10000"/>
              <a:gd name="connsiteY29" fmla="*/ 5716 h 10000"/>
              <a:gd name="connsiteX30" fmla="*/ 2329 w 10000"/>
              <a:gd name="connsiteY30" fmla="*/ 6424 h 10000"/>
              <a:gd name="connsiteX31" fmla="*/ 1675 w 10000"/>
              <a:gd name="connsiteY31" fmla="*/ 7111 h 10000"/>
              <a:gd name="connsiteX32" fmla="*/ 986 w 10000"/>
              <a:gd name="connsiteY32" fmla="*/ 8197 h 10000"/>
              <a:gd name="connsiteX33" fmla="*/ 0 w 10000"/>
              <a:gd name="connsiteY33" fmla="*/ 10000 h 10000"/>
              <a:gd name="connsiteX0" fmla="*/ 45 w 10000"/>
              <a:gd name="connsiteY0" fmla="*/ 9920 h 10000"/>
              <a:gd name="connsiteX1" fmla="*/ 1081 w 10000"/>
              <a:gd name="connsiteY1" fmla="*/ 9669 h 10000"/>
              <a:gd name="connsiteX2" fmla="*/ 1905 w 10000"/>
              <a:gd name="connsiteY2" fmla="*/ 9324 h 10000"/>
              <a:gd name="connsiteX3" fmla="*/ 2999 w 10000"/>
              <a:gd name="connsiteY3" fmla="*/ 8719 h 10000"/>
              <a:gd name="connsiteX4" fmla="*/ 3827 w 10000"/>
              <a:gd name="connsiteY4" fmla="*/ 8219 h 10000"/>
              <a:gd name="connsiteX5" fmla="*/ 4678 w 10000"/>
              <a:gd name="connsiteY5" fmla="*/ 7614 h 10000"/>
              <a:gd name="connsiteX6" fmla="*/ 5580 w 10000"/>
              <a:gd name="connsiteY6" fmla="*/ 6940 h 10000"/>
              <a:gd name="connsiteX7" fmla="*/ 6031 w 10000"/>
              <a:gd name="connsiteY7" fmla="*/ 6508 h 10000"/>
              <a:gd name="connsiteX8" fmla="*/ 6546 w 10000"/>
              <a:gd name="connsiteY8" fmla="*/ 5976 h 10000"/>
              <a:gd name="connsiteX9" fmla="*/ 6966 w 10000"/>
              <a:gd name="connsiteY9" fmla="*/ 5472 h 10000"/>
              <a:gd name="connsiteX10" fmla="*/ 7293 w 10000"/>
              <a:gd name="connsiteY10" fmla="*/ 5005 h 10000"/>
              <a:gd name="connsiteX11" fmla="*/ 7618 w 10000"/>
              <a:gd name="connsiteY11" fmla="*/ 4630 h 10000"/>
              <a:gd name="connsiteX12" fmla="*/ 8933 w 10000"/>
              <a:gd name="connsiteY12" fmla="*/ 5823 h 10000"/>
              <a:gd name="connsiteX13" fmla="*/ 9082 w 10000"/>
              <a:gd name="connsiteY13" fmla="*/ 4981 h 10000"/>
              <a:gd name="connsiteX14" fmla="*/ 9137 w 10000"/>
              <a:gd name="connsiteY14" fmla="*/ 4044 h 10000"/>
              <a:gd name="connsiteX15" fmla="*/ 9305 w 10000"/>
              <a:gd name="connsiteY15" fmla="*/ 2996 h 10000"/>
              <a:gd name="connsiteX16" fmla="*/ 9468 w 10000"/>
              <a:gd name="connsiteY16" fmla="*/ 2094 h 10000"/>
              <a:gd name="connsiteX17" fmla="*/ 9562 w 10000"/>
              <a:gd name="connsiteY17" fmla="*/ 1106 h 10000"/>
              <a:gd name="connsiteX18" fmla="*/ 10000 w 10000"/>
              <a:gd name="connsiteY18" fmla="*/ 0 h 10000"/>
              <a:gd name="connsiteX19" fmla="*/ 9059 w 10000"/>
              <a:gd name="connsiteY19" fmla="*/ 448 h 10000"/>
              <a:gd name="connsiteX20" fmla="*/ 8105 w 10000"/>
              <a:gd name="connsiteY20" fmla="*/ 829 h 10000"/>
              <a:gd name="connsiteX21" fmla="*/ 7034 w 10000"/>
              <a:gd name="connsiteY21" fmla="*/ 1122 h 10000"/>
              <a:gd name="connsiteX22" fmla="*/ 6095 w 10000"/>
              <a:gd name="connsiteY22" fmla="*/ 1313 h 10000"/>
              <a:gd name="connsiteX23" fmla="*/ 5553 w 10000"/>
              <a:gd name="connsiteY23" fmla="*/ 1382 h 10000"/>
              <a:gd name="connsiteX24" fmla="*/ 4380 w 10000"/>
              <a:gd name="connsiteY24" fmla="*/ 1656 h 10000"/>
              <a:gd name="connsiteX25" fmla="*/ 6067 w 10000"/>
              <a:gd name="connsiteY25" fmla="*/ 2883 h 10000"/>
              <a:gd name="connsiteX26" fmla="*/ 5499 w 10000"/>
              <a:gd name="connsiteY26" fmla="*/ 3644 h 10000"/>
              <a:gd name="connsiteX27" fmla="*/ 4853 w 10000"/>
              <a:gd name="connsiteY27" fmla="*/ 4298 h 10000"/>
              <a:gd name="connsiteX28" fmla="*/ 4137 w 10000"/>
              <a:gd name="connsiteY28" fmla="*/ 5024 h 10000"/>
              <a:gd name="connsiteX29" fmla="*/ 3268 w 10000"/>
              <a:gd name="connsiteY29" fmla="*/ 5716 h 10000"/>
              <a:gd name="connsiteX30" fmla="*/ 2329 w 10000"/>
              <a:gd name="connsiteY30" fmla="*/ 6424 h 10000"/>
              <a:gd name="connsiteX31" fmla="*/ 1675 w 10000"/>
              <a:gd name="connsiteY31" fmla="*/ 7111 h 10000"/>
              <a:gd name="connsiteX32" fmla="*/ 986 w 10000"/>
              <a:gd name="connsiteY32" fmla="*/ 8197 h 10000"/>
              <a:gd name="connsiteX33" fmla="*/ 0 w 10000"/>
              <a:gd name="connsiteY33" fmla="*/ 10000 h 10000"/>
              <a:gd name="connsiteX0" fmla="*/ 45 w 10000"/>
              <a:gd name="connsiteY0" fmla="*/ 9920 h 10000"/>
              <a:gd name="connsiteX1" fmla="*/ 1081 w 10000"/>
              <a:gd name="connsiteY1" fmla="*/ 9669 h 10000"/>
              <a:gd name="connsiteX2" fmla="*/ 1905 w 10000"/>
              <a:gd name="connsiteY2" fmla="*/ 9324 h 10000"/>
              <a:gd name="connsiteX3" fmla="*/ 2999 w 10000"/>
              <a:gd name="connsiteY3" fmla="*/ 8719 h 10000"/>
              <a:gd name="connsiteX4" fmla="*/ 3827 w 10000"/>
              <a:gd name="connsiteY4" fmla="*/ 8219 h 10000"/>
              <a:gd name="connsiteX5" fmla="*/ 4678 w 10000"/>
              <a:gd name="connsiteY5" fmla="*/ 7614 h 10000"/>
              <a:gd name="connsiteX6" fmla="*/ 5580 w 10000"/>
              <a:gd name="connsiteY6" fmla="*/ 6940 h 10000"/>
              <a:gd name="connsiteX7" fmla="*/ 6031 w 10000"/>
              <a:gd name="connsiteY7" fmla="*/ 6508 h 10000"/>
              <a:gd name="connsiteX8" fmla="*/ 6546 w 10000"/>
              <a:gd name="connsiteY8" fmla="*/ 5976 h 10000"/>
              <a:gd name="connsiteX9" fmla="*/ 6966 w 10000"/>
              <a:gd name="connsiteY9" fmla="*/ 5472 h 10000"/>
              <a:gd name="connsiteX10" fmla="*/ 7293 w 10000"/>
              <a:gd name="connsiteY10" fmla="*/ 5005 h 10000"/>
              <a:gd name="connsiteX11" fmla="*/ 7618 w 10000"/>
              <a:gd name="connsiteY11" fmla="*/ 4630 h 10000"/>
              <a:gd name="connsiteX12" fmla="*/ 8933 w 10000"/>
              <a:gd name="connsiteY12" fmla="*/ 5823 h 10000"/>
              <a:gd name="connsiteX13" fmla="*/ 9082 w 10000"/>
              <a:gd name="connsiteY13" fmla="*/ 4981 h 10000"/>
              <a:gd name="connsiteX14" fmla="*/ 9137 w 10000"/>
              <a:gd name="connsiteY14" fmla="*/ 4044 h 10000"/>
              <a:gd name="connsiteX15" fmla="*/ 9305 w 10000"/>
              <a:gd name="connsiteY15" fmla="*/ 2996 h 10000"/>
              <a:gd name="connsiteX16" fmla="*/ 9468 w 10000"/>
              <a:gd name="connsiteY16" fmla="*/ 2094 h 10000"/>
              <a:gd name="connsiteX17" fmla="*/ 9618 w 10000"/>
              <a:gd name="connsiteY17" fmla="*/ 1216 h 10000"/>
              <a:gd name="connsiteX18" fmla="*/ 10000 w 10000"/>
              <a:gd name="connsiteY18" fmla="*/ 0 h 10000"/>
              <a:gd name="connsiteX19" fmla="*/ 9059 w 10000"/>
              <a:gd name="connsiteY19" fmla="*/ 448 h 10000"/>
              <a:gd name="connsiteX20" fmla="*/ 8105 w 10000"/>
              <a:gd name="connsiteY20" fmla="*/ 829 h 10000"/>
              <a:gd name="connsiteX21" fmla="*/ 7034 w 10000"/>
              <a:gd name="connsiteY21" fmla="*/ 1122 h 10000"/>
              <a:gd name="connsiteX22" fmla="*/ 6095 w 10000"/>
              <a:gd name="connsiteY22" fmla="*/ 1313 h 10000"/>
              <a:gd name="connsiteX23" fmla="*/ 5553 w 10000"/>
              <a:gd name="connsiteY23" fmla="*/ 1382 h 10000"/>
              <a:gd name="connsiteX24" fmla="*/ 4380 w 10000"/>
              <a:gd name="connsiteY24" fmla="*/ 1656 h 10000"/>
              <a:gd name="connsiteX25" fmla="*/ 6067 w 10000"/>
              <a:gd name="connsiteY25" fmla="*/ 2883 h 10000"/>
              <a:gd name="connsiteX26" fmla="*/ 5499 w 10000"/>
              <a:gd name="connsiteY26" fmla="*/ 3644 h 10000"/>
              <a:gd name="connsiteX27" fmla="*/ 4853 w 10000"/>
              <a:gd name="connsiteY27" fmla="*/ 4298 h 10000"/>
              <a:gd name="connsiteX28" fmla="*/ 4137 w 10000"/>
              <a:gd name="connsiteY28" fmla="*/ 5024 h 10000"/>
              <a:gd name="connsiteX29" fmla="*/ 3268 w 10000"/>
              <a:gd name="connsiteY29" fmla="*/ 5716 h 10000"/>
              <a:gd name="connsiteX30" fmla="*/ 2329 w 10000"/>
              <a:gd name="connsiteY30" fmla="*/ 6424 h 10000"/>
              <a:gd name="connsiteX31" fmla="*/ 1675 w 10000"/>
              <a:gd name="connsiteY31" fmla="*/ 7111 h 10000"/>
              <a:gd name="connsiteX32" fmla="*/ 986 w 10000"/>
              <a:gd name="connsiteY32" fmla="*/ 8197 h 10000"/>
              <a:gd name="connsiteX33" fmla="*/ 0 w 10000"/>
              <a:gd name="connsiteY33"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000" h="10000">
                <a:moveTo>
                  <a:pt x="45" y="9920"/>
                </a:moveTo>
                <a:lnTo>
                  <a:pt x="1081" y="9669"/>
                </a:lnTo>
                <a:lnTo>
                  <a:pt x="1905" y="9324"/>
                </a:lnTo>
                <a:lnTo>
                  <a:pt x="2999" y="8719"/>
                </a:lnTo>
                <a:lnTo>
                  <a:pt x="3827" y="8219"/>
                </a:lnTo>
                <a:lnTo>
                  <a:pt x="4678" y="7614"/>
                </a:lnTo>
                <a:lnTo>
                  <a:pt x="5580" y="6940"/>
                </a:lnTo>
                <a:lnTo>
                  <a:pt x="6031" y="6508"/>
                </a:lnTo>
                <a:lnTo>
                  <a:pt x="6546" y="5976"/>
                </a:lnTo>
                <a:lnTo>
                  <a:pt x="6966" y="5472"/>
                </a:lnTo>
                <a:cubicBezTo>
                  <a:pt x="7075" y="5318"/>
                  <a:pt x="7187" y="5161"/>
                  <a:pt x="7293" y="5005"/>
                </a:cubicBezTo>
                <a:lnTo>
                  <a:pt x="7618" y="4630"/>
                </a:lnTo>
                <a:lnTo>
                  <a:pt x="8933" y="5823"/>
                </a:lnTo>
                <a:cubicBezTo>
                  <a:pt x="8906" y="5643"/>
                  <a:pt x="9109" y="5161"/>
                  <a:pt x="9082" y="4981"/>
                </a:cubicBezTo>
                <a:cubicBezTo>
                  <a:pt x="9106" y="4637"/>
                  <a:pt x="9111" y="4389"/>
                  <a:pt x="9137" y="4044"/>
                </a:cubicBezTo>
                <a:cubicBezTo>
                  <a:pt x="9183" y="3693"/>
                  <a:pt x="9262" y="3348"/>
                  <a:pt x="9305" y="2996"/>
                </a:cubicBezTo>
                <a:cubicBezTo>
                  <a:pt x="9391" y="2611"/>
                  <a:pt x="9382" y="2481"/>
                  <a:pt x="9468" y="2094"/>
                </a:cubicBezTo>
                <a:cubicBezTo>
                  <a:pt x="9547" y="1784"/>
                  <a:pt x="9535" y="1525"/>
                  <a:pt x="9618" y="1216"/>
                </a:cubicBezTo>
                <a:cubicBezTo>
                  <a:pt x="9762" y="846"/>
                  <a:pt x="9854" y="370"/>
                  <a:pt x="10000" y="0"/>
                </a:cubicBezTo>
                <a:lnTo>
                  <a:pt x="9059" y="448"/>
                </a:lnTo>
                <a:lnTo>
                  <a:pt x="8105" y="829"/>
                </a:lnTo>
                <a:lnTo>
                  <a:pt x="7034" y="1122"/>
                </a:lnTo>
                <a:lnTo>
                  <a:pt x="6095" y="1313"/>
                </a:lnTo>
                <a:lnTo>
                  <a:pt x="5553" y="1382"/>
                </a:lnTo>
                <a:lnTo>
                  <a:pt x="4380" y="1656"/>
                </a:lnTo>
                <a:lnTo>
                  <a:pt x="6067" y="2883"/>
                </a:lnTo>
                <a:cubicBezTo>
                  <a:pt x="5881" y="3136"/>
                  <a:pt x="5691" y="3391"/>
                  <a:pt x="5499" y="3644"/>
                </a:cubicBezTo>
                <a:lnTo>
                  <a:pt x="4853" y="4298"/>
                </a:lnTo>
                <a:lnTo>
                  <a:pt x="4137" y="5024"/>
                </a:lnTo>
                <a:lnTo>
                  <a:pt x="3268" y="5716"/>
                </a:lnTo>
                <a:lnTo>
                  <a:pt x="2329" y="6424"/>
                </a:lnTo>
                <a:lnTo>
                  <a:pt x="1675" y="7111"/>
                </a:lnTo>
                <a:lnTo>
                  <a:pt x="986" y="8197"/>
                </a:lnTo>
                <a:lnTo>
                  <a:pt x="0" y="10000"/>
                </a:lnTo>
              </a:path>
            </a:pathLst>
          </a:custGeom>
          <a:solidFill>
            <a:schemeClr val="bg2"/>
          </a:solidFill>
          <a:ln w="19050" cap="rnd" cmpd="sng">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endParaRPr lang="de-DE" dirty="0">
              <a:solidFill>
                <a:prstClr val="black"/>
              </a:solidFill>
              <a:latin typeface="BMWTypeRegular"/>
            </a:endParaRPr>
          </a:p>
        </p:txBody>
      </p:sp>
      <p:sp>
        <p:nvSpPr>
          <p:cNvPr id="8" name="Textfeld 7"/>
          <p:cNvSpPr txBox="1"/>
          <p:nvPr/>
        </p:nvSpPr>
        <p:spPr>
          <a:xfrm>
            <a:off x="3576175" y="2130216"/>
            <a:ext cx="1998000" cy="504000"/>
          </a:xfrm>
          <a:prstGeom prst="rect">
            <a:avLst/>
          </a:prstGeom>
          <a:solidFill>
            <a:schemeClr val="bg2"/>
          </a:solidFill>
          <a:ln>
            <a:noFill/>
          </a:ln>
        </p:spPr>
        <p:txBody>
          <a:bodyPr vert="horz" wrap="square" lIns="36000" tIns="45720" rIns="36000" bIns="45720" numCol="1" anchor="ctr" anchorCtr="0" compatLnSpc="1">
            <a:prstTxWarp prst="textNoShape">
              <a:avLst/>
            </a:prstTxWarp>
            <a:noAutofit/>
          </a:bodyPr>
          <a:lstStyle>
            <a:defPPr>
              <a:defRPr lang="de-DE"/>
            </a:defPPr>
            <a:lvl1pPr algn="ctr">
              <a:defRPr sz="1100" b="1">
                <a:solidFill>
                  <a:schemeClr val="bg1"/>
                </a:solidFill>
                <a:cs typeface="Arial" pitchFamily="34" charset="0"/>
              </a:defRPr>
            </a:lvl1pPr>
          </a:lstStyle>
          <a:p>
            <a:r>
              <a:rPr lang="de-DE" smtClean="0">
                <a:solidFill>
                  <a:prstClr val="white"/>
                </a:solidFill>
              </a:rPr>
              <a:t>Maturity requirements</a:t>
            </a:r>
            <a:endParaRPr lang="de-DE" dirty="0">
              <a:solidFill>
                <a:prstClr val="white"/>
              </a:solidFill>
            </a:endParaRPr>
          </a:p>
          <a:p>
            <a:r>
              <a:rPr lang="de-DE" smtClean="0">
                <a:solidFill>
                  <a:prstClr val="white"/>
                </a:solidFill>
              </a:rPr>
              <a:t>Total vehicle</a:t>
            </a:r>
            <a:endParaRPr lang="de-DE" dirty="0">
              <a:solidFill>
                <a:prstClr val="white"/>
              </a:solidFill>
            </a:endParaRPr>
          </a:p>
        </p:txBody>
      </p:sp>
      <p:sp>
        <p:nvSpPr>
          <p:cNvPr id="9" name="Textfeld 8"/>
          <p:cNvSpPr txBox="1"/>
          <p:nvPr/>
        </p:nvSpPr>
        <p:spPr>
          <a:xfrm>
            <a:off x="1565888" y="3701438"/>
            <a:ext cx="1998000" cy="504000"/>
          </a:xfrm>
          <a:prstGeom prst="rect">
            <a:avLst/>
          </a:prstGeom>
          <a:solidFill>
            <a:schemeClr val="bg2"/>
          </a:solidFill>
          <a:ln>
            <a:noFill/>
          </a:ln>
        </p:spPr>
        <p:txBody>
          <a:bodyPr vert="horz" wrap="square" lIns="36000" tIns="45720" rIns="36000" bIns="45720" numCol="1" anchor="ctr" anchorCtr="0" compatLnSpc="1">
            <a:prstTxWarp prst="textNoShape">
              <a:avLst/>
            </a:prstTxWarp>
            <a:noAutofit/>
          </a:bodyPr>
          <a:lstStyle>
            <a:defPPr>
              <a:defRPr lang="de-DE"/>
            </a:defPPr>
            <a:lvl1pPr algn="ctr">
              <a:defRPr sz="1100" b="1">
                <a:solidFill>
                  <a:schemeClr val="bg1"/>
                </a:solidFill>
                <a:cs typeface="Arial" pitchFamily="34" charset="0"/>
              </a:defRPr>
            </a:lvl1pPr>
          </a:lstStyle>
          <a:p>
            <a:r>
              <a:rPr lang="de-DE" smtClean="0">
                <a:solidFill>
                  <a:prstClr val="white"/>
                </a:solidFill>
              </a:rPr>
              <a:t>Maturity requirements</a:t>
            </a:r>
            <a:endParaRPr lang="de-DE" dirty="0">
              <a:solidFill>
                <a:prstClr val="white"/>
              </a:solidFill>
            </a:endParaRPr>
          </a:p>
          <a:p>
            <a:r>
              <a:rPr lang="de-DE" dirty="0">
                <a:solidFill>
                  <a:prstClr val="white"/>
                </a:solidFill>
              </a:rPr>
              <a:t>System</a:t>
            </a:r>
            <a:r>
              <a:rPr lang="de-DE">
                <a:solidFill>
                  <a:prstClr val="white"/>
                </a:solidFill>
              </a:rPr>
              <a:t>/ </a:t>
            </a:r>
            <a:r>
              <a:rPr lang="de-DE" smtClean="0">
                <a:solidFill>
                  <a:prstClr val="white"/>
                </a:solidFill>
              </a:rPr>
              <a:t>component</a:t>
            </a:r>
            <a:endParaRPr lang="de-DE" dirty="0">
              <a:solidFill>
                <a:prstClr val="white"/>
              </a:solidFill>
            </a:endParaRPr>
          </a:p>
        </p:txBody>
      </p:sp>
      <p:sp>
        <p:nvSpPr>
          <p:cNvPr id="10" name="Textfeld 9"/>
          <p:cNvSpPr txBox="1"/>
          <p:nvPr/>
        </p:nvSpPr>
        <p:spPr>
          <a:xfrm>
            <a:off x="5666533" y="3266775"/>
            <a:ext cx="1998000" cy="504000"/>
          </a:xfrm>
          <a:prstGeom prst="rect">
            <a:avLst/>
          </a:prstGeom>
          <a:solidFill>
            <a:schemeClr val="bg2"/>
          </a:solidFill>
          <a:ln>
            <a:noFill/>
          </a:ln>
        </p:spPr>
        <p:txBody>
          <a:bodyPr vert="horz" wrap="square" lIns="36000" tIns="45720" rIns="36000" bIns="45720" numCol="1" anchor="ctr" anchorCtr="0" compatLnSpc="1">
            <a:prstTxWarp prst="textNoShape">
              <a:avLst/>
            </a:prstTxWarp>
            <a:noAutofit/>
          </a:bodyPr>
          <a:lstStyle>
            <a:defPPr>
              <a:defRPr lang="de-DE"/>
            </a:defPPr>
            <a:lvl1pPr algn="ctr">
              <a:defRPr sz="1100" b="1">
                <a:solidFill>
                  <a:schemeClr val="bg1"/>
                </a:solidFill>
                <a:cs typeface="Arial" pitchFamily="34" charset="0"/>
              </a:defRPr>
            </a:lvl1pPr>
          </a:lstStyle>
          <a:p>
            <a:r>
              <a:rPr lang="de-DE" smtClean="0">
                <a:solidFill>
                  <a:prstClr val="white"/>
                </a:solidFill>
              </a:rPr>
              <a:t>Maturity requirements</a:t>
            </a:r>
            <a:endParaRPr lang="de-DE" dirty="0">
              <a:solidFill>
                <a:prstClr val="white"/>
              </a:solidFill>
            </a:endParaRPr>
          </a:p>
          <a:p>
            <a:r>
              <a:rPr lang="de-DE" smtClean="0">
                <a:solidFill>
                  <a:prstClr val="white"/>
                </a:solidFill>
              </a:rPr>
              <a:t>Assembling </a:t>
            </a:r>
            <a:endParaRPr lang="de-DE" dirty="0">
              <a:solidFill>
                <a:prstClr val="white"/>
              </a:solidFill>
            </a:endParaRPr>
          </a:p>
        </p:txBody>
      </p:sp>
      <p:sp>
        <p:nvSpPr>
          <p:cNvPr id="11" name="Textfeld 10"/>
          <p:cNvSpPr txBox="1"/>
          <p:nvPr/>
        </p:nvSpPr>
        <p:spPr>
          <a:xfrm>
            <a:off x="5666533" y="4234069"/>
            <a:ext cx="1998000" cy="504000"/>
          </a:xfrm>
          <a:prstGeom prst="rect">
            <a:avLst/>
          </a:prstGeom>
          <a:solidFill>
            <a:schemeClr val="bg2"/>
          </a:solidFill>
          <a:ln>
            <a:noFill/>
          </a:ln>
        </p:spPr>
        <p:txBody>
          <a:bodyPr vert="horz" wrap="square" lIns="36000" tIns="45720" rIns="36000" bIns="45720" numCol="1" anchor="ctr" anchorCtr="0" compatLnSpc="1">
            <a:prstTxWarp prst="textNoShape">
              <a:avLst/>
            </a:prstTxWarp>
            <a:noAutofit/>
          </a:bodyPr>
          <a:lstStyle>
            <a:defPPr>
              <a:defRPr lang="de-DE"/>
            </a:defPPr>
            <a:lvl1pPr algn="ctr">
              <a:defRPr sz="1100" b="1">
                <a:solidFill>
                  <a:schemeClr val="bg1"/>
                </a:solidFill>
                <a:cs typeface="Arial" pitchFamily="34" charset="0"/>
              </a:defRPr>
            </a:lvl1pPr>
          </a:lstStyle>
          <a:p>
            <a:r>
              <a:rPr lang="de-DE" smtClean="0">
                <a:solidFill>
                  <a:prstClr val="white"/>
                </a:solidFill>
              </a:rPr>
              <a:t>Maturity requirements</a:t>
            </a:r>
            <a:endParaRPr lang="de-DE" dirty="0">
              <a:solidFill>
                <a:prstClr val="white"/>
              </a:solidFill>
            </a:endParaRPr>
          </a:p>
          <a:p>
            <a:r>
              <a:rPr lang="de-DE" smtClean="0">
                <a:solidFill>
                  <a:prstClr val="white"/>
                </a:solidFill>
              </a:rPr>
              <a:t>Devices</a:t>
            </a:r>
            <a:endParaRPr lang="de-DE" dirty="0">
              <a:solidFill>
                <a:prstClr val="white"/>
              </a:solidFill>
            </a:endParaRPr>
          </a:p>
        </p:txBody>
      </p:sp>
      <p:sp>
        <p:nvSpPr>
          <p:cNvPr id="12" name="Textfeld 11"/>
          <p:cNvSpPr txBox="1"/>
          <p:nvPr/>
        </p:nvSpPr>
        <p:spPr>
          <a:xfrm>
            <a:off x="3576175" y="5468595"/>
            <a:ext cx="1998000" cy="504000"/>
          </a:xfrm>
          <a:prstGeom prst="rect">
            <a:avLst/>
          </a:prstGeom>
          <a:solidFill>
            <a:schemeClr val="bg2"/>
          </a:solidFill>
          <a:ln>
            <a:noFill/>
          </a:ln>
        </p:spPr>
        <p:txBody>
          <a:bodyPr vert="horz" wrap="square" lIns="36000" tIns="45720" rIns="36000" bIns="45720" numCol="1" anchor="ctr" anchorCtr="0" compatLnSpc="1">
            <a:prstTxWarp prst="textNoShape">
              <a:avLst/>
            </a:prstTxWarp>
            <a:noAutofit/>
          </a:bodyPr>
          <a:lstStyle>
            <a:defPPr>
              <a:defRPr lang="de-DE"/>
            </a:defPPr>
            <a:lvl1pPr algn="ctr">
              <a:defRPr sz="1100" b="1">
                <a:solidFill>
                  <a:schemeClr val="bg1"/>
                </a:solidFill>
                <a:cs typeface="Arial" pitchFamily="34" charset="0"/>
              </a:defRPr>
            </a:lvl1pPr>
          </a:lstStyle>
          <a:p>
            <a:r>
              <a:rPr lang="de-DE" smtClean="0">
                <a:solidFill>
                  <a:prstClr val="white"/>
                </a:solidFill>
              </a:rPr>
              <a:t>Maturity requirements</a:t>
            </a:r>
            <a:endParaRPr lang="de-DE" dirty="0">
              <a:solidFill>
                <a:prstClr val="white"/>
              </a:solidFill>
            </a:endParaRPr>
          </a:p>
          <a:p>
            <a:r>
              <a:rPr lang="de-DE" smtClean="0">
                <a:solidFill>
                  <a:prstClr val="white"/>
                </a:solidFill>
              </a:rPr>
              <a:t>Component</a:t>
            </a:r>
            <a:endParaRPr lang="de-DE" dirty="0">
              <a:solidFill>
                <a:prstClr val="white"/>
              </a:solidFill>
            </a:endParaRPr>
          </a:p>
          <a:p>
            <a:r>
              <a:rPr lang="de-DE" smtClean="0">
                <a:solidFill>
                  <a:prstClr val="white"/>
                </a:solidFill>
              </a:rPr>
              <a:t>Man. equipment*</a:t>
            </a:r>
            <a:r>
              <a:rPr lang="de-DE" baseline="30000" smtClean="0">
                <a:solidFill>
                  <a:prstClr val="white"/>
                </a:solidFill>
              </a:rPr>
              <a:t>1</a:t>
            </a:r>
            <a:endParaRPr lang="de-DE" baseline="30000" dirty="0">
              <a:solidFill>
                <a:prstClr val="white"/>
              </a:solidFill>
            </a:endParaRPr>
          </a:p>
        </p:txBody>
      </p:sp>
      <p:sp>
        <p:nvSpPr>
          <p:cNvPr id="69" name="Textfeld 68"/>
          <p:cNvSpPr txBox="1"/>
          <p:nvPr/>
        </p:nvSpPr>
        <p:spPr>
          <a:xfrm>
            <a:off x="510544" y="5893447"/>
            <a:ext cx="4442543" cy="369332"/>
          </a:xfrm>
          <a:prstGeom prst="rect">
            <a:avLst/>
          </a:prstGeom>
          <a:noFill/>
        </p:spPr>
        <p:txBody>
          <a:bodyPr wrap="square" rtlCol="0" anchor="ctr">
            <a:spAutoFit/>
          </a:bodyPr>
          <a:lstStyle/>
          <a:p>
            <a:pPr marL="104775" indent="-104775"/>
            <a:r>
              <a:rPr lang="de-DE" sz="900" dirty="0">
                <a:solidFill>
                  <a:prstClr val="black"/>
                </a:solidFill>
              </a:rPr>
              <a:t>*</a:t>
            </a:r>
            <a:r>
              <a:rPr lang="de-DE" sz="900" baseline="30000">
                <a:solidFill>
                  <a:prstClr val="black"/>
                </a:solidFill>
              </a:rPr>
              <a:t>1 </a:t>
            </a:r>
            <a:r>
              <a:rPr lang="de-DE" sz="900" smtClean="0">
                <a:solidFill>
                  <a:prstClr val="black"/>
                </a:solidFill>
              </a:rPr>
              <a:t>Implementation and proof of  BT maturity by supplier </a:t>
            </a:r>
          </a:p>
          <a:p>
            <a:pPr marL="104775" indent="-104775"/>
            <a:r>
              <a:rPr lang="de-DE" sz="900" smtClean="0">
                <a:solidFill>
                  <a:prstClr val="black"/>
                </a:solidFill>
              </a:rPr>
              <a:t>*</a:t>
            </a:r>
            <a:r>
              <a:rPr lang="de-DE" sz="900" baseline="30000">
                <a:solidFill>
                  <a:prstClr val="black"/>
                </a:solidFill>
              </a:rPr>
              <a:t>2 </a:t>
            </a:r>
            <a:r>
              <a:rPr lang="en-US" sz="900" smtClean="0">
                <a:solidFill>
                  <a:prstClr val="black"/>
                </a:solidFill>
              </a:rPr>
              <a:t>Cross-departmental function of M-Ressort to supplier</a:t>
            </a:r>
            <a:endParaRPr lang="de-DE" sz="900" dirty="0">
              <a:solidFill>
                <a:prstClr val="black"/>
              </a:solidFill>
            </a:endParaRPr>
          </a:p>
        </p:txBody>
      </p:sp>
      <p:sp>
        <p:nvSpPr>
          <p:cNvPr id="43" name="Textfeld 42"/>
          <p:cNvSpPr txBox="1"/>
          <p:nvPr/>
        </p:nvSpPr>
        <p:spPr>
          <a:xfrm>
            <a:off x="6651964" y="2481959"/>
            <a:ext cx="1683772" cy="523220"/>
          </a:xfrm>
          <a:prstGeom prst="rect">
            <a:avLst/>
          </a:prstGeom>
          <a:noFill/>
        </p:spPr>
        <p:txBody>
          <a:bodyPr wrap="square" rtlCol="0">
            <a:spAutoFit/>
          </a:bodyPr>
          <a:lstStyle/>
          <a:p>
            <a:pPr marL="171450" indent="-171450"/>
            <a:r>
              <a:rPr lang="de-DE" sz="1400" smtClean="0">
                <a:solidFill>
                  <a:prstClr val="black"/>
                </a:solidFill>
              </a:rPr>
              <a:t>Responsibility for feature</a:t>
            </a:r>
            <a:endParaRPr lang="de-DE" sz="1400" dirty="0">
              <a:solidFill>
                <a:prstClr val="black"/>
              </a:solidFill>
            </a:endParaRPr>
          </a:p>
        </p:txBody>
      </p:sp>
      <p:sp>
        <p:nvSpPr>
          <p:cNvPr id="58" name="Textfeld 57"/>
          <p:cNvSpPr txBox="1"/>
          <p:nvPr/>
        </p:nvSpPr>
        <p:spPr>
          <a:xfrm>
            <a:off x="7740352" y="3573016"/>
            <a:ext cx="1656184" cy="954107"/>
          </a:xfrm>
          <a:prstGeom prst="rect">
            <a:avLst/>
          </a:prstGeom>
          <a:noFill/>
        </p:spPr>
        <p:txBody>
          <a:bodyPr wrap="square" rtlCol="0">
            <a:spAutoFit/>
          </a:bodyPr>
          <a:lstStyle/>
          <a:p>
            <a:r>
              <a:rPr lang="de-DE" sz="1400" dirty="0" err="1" smtClean="0">
                <a:solidFill>
                  <a:prstClr val="black"/>
                </a:solidFill>
              </a:rPr>
              <a:t>Responsi</a:t>
            </a:r>
            <a:r>
              <a:rPr lang="de-DE" sz="1400" dirty="0" smtClean="0">
                <a:solidFill>
                  <a:prstClr val="black"/>
                </a:solidFill>
              </a:rPr>
              <a:t>-</a:t>
            </a:r>
            <a:br>
              <a:rPr lang="de-DE" sz="1400" dirty="0" smtClean="0">
                <a:solidFill>
                  <a:prstClr val="black"/>
                </a:solidFill>
              </a:rPr>
            </a:br>
            <a:r>
              <a:rPr lang="de-DE" sz="1400" dirty="0" err="1" smtClean="0">
                <a:solidFill>
                  <a:prstClr val="black"/>
                </a:solidFill>
              </a:rPr>
              <a:t>bility</a:t>
            </a:r>
            <a:r>
              <a:rPr lang="de-DE" sz="1400" dirty="0" smtClean="0">
                <a:solidFill>
                  <a:prstClr val="black"/>
                </a:solidFill>
              </a:rPr>
              <a:t> </a:t>
            </a:r>
            <a:r>
              <a:rPr lang="de-DE" sz="1400" dirty="0" err="1" smtClean="0">
                <a:solidFill>
                  <a:prstClr val="black"/>
                </a:solidFill>
              </a:rPr>
              <a:t>for</a:t>
            </a:r>
            <a:r>
              <a:rPr lang="de-DE" sz="1400" dirty="0" smtClean="0">
                <a:solidFill>
                  <a:prstClr val="black"/>
                </a:solidFill>
              </a:rPr>
              <a:t> </a:t>
            </a:r>
          </a:p>
          <a:p>
            <a:r>
              <a:rPr lang="de-DE" sz="1400" dirty="0" err="1" smtClean="0">
                <a:solidFill>
                  <a:prstClr val="black"/>
                </a:solidFill>
              </a:rPr>
              <a:t>product</a:t>
            </a:r>
            <a:r>
              <a:rPr lang="de-DE" sz="1400" dirty="0" smtClean="0">
                <a:solidFill>
                  <a:prstClr val="black"/>
                </a:solidFill>
              </a:rPr>
              <a:t/>
            </a:r>
            <a:br>
              <a:rPr lang="de-DE" sz="1400" dirty="0" smtClean="0">
                <a:solidFill>
                  <a:prstClr val="black"/>
                </a:solidFill>
              </a:rPr>
            </a:br>
            <a:r>
              <a:rPr lang="de-DE" sz="1400" dirty="0" err="1" smtClean="0">
                <a:solidFill>
                  <a:prstClr val="black"/>
                </a:solidFill>
              </a:rPr>
              <a:t>approval</a:t>
            </a:r>
            <a:endParaRPr lang="de-DE" sz="1400" dirty="0">
              <a:solidFill>
                <a:prstClr val="black"/>
              </a:solidFill>
            </a:endParaRPr>
          </a:p>
        </p:txBody>
      </p:sp>
      <p:sp>
        <p:nvSpPr>
          <p:cNvPr id="41" name="Fußzeilenplatzhalter 36"/>
          <p:cNvSpPr>
            <a:spLocks noGrp="1"/>
          </p:cNvSpPr>
          <p:nvPr>
            <p:ph type="ftr" sz="quarter" idx="10"/>
          </p:nvPr>
        </p:nvSpPr>
        <p:spPr>
          <a:xfrm>
            <a:off x="468312" y="6526213"/>
            <a:ext cx="4827019" cy="331787"/>
          </a:xfrm>
        </p:spPr>
        <p:txBody>
          <a:bodyPr/>
          <a:lstStyle/>
          <a:p>
            <a:pPr algn="l"/>
            <a:r>
              <a:rPr lang="de-DE" smtClean="0"/>
              <a:t>Maturity Level Management Total Vehicle, Communication, Version 4.2</a:t>
            </a:r>
            <a:endParaRPr lang="de-DE" dirty="0"/>
          </a:p>
        </p:txBody>
      </p:sp>
      <p:pic>
        <p:nvPicPr>
          <p:cNvPr id="35" name="Picture 10" descr="Businessmen shaking hands"/>
          <p:cNvPicPr>
            <a:picLocks noChangeAspect="1" noChangeArrowheads="1"/>
          </p:cNvPicPr>
          <p:nvPr/>
        </p:nvPicPr>
        <p:blipFill>
          <a:blip r:embed="rId4" cstate="print">
            <a:extLst>
              <a:ext uri="{BEBA8EAE-BF5A-486C-A8C5-ECC9F3942E4B}">
                <a14:imgProps xmlns="" xmlns:a14="http://schemas.microsoft.com/office/drawing/2010/main">
                  <a14:imgLayer r:embed="rId8">
                    <a14:imgEffect>
                      <a14:backgroundRemoval t="2804" b="89720" l="1875" r="90000"/>
                    </a14:imgEffect>
                  </a14:imgLayer>
                </a14:imgProps>
              </a:ext>
              <a:ext uri="{28A0092B-C50C-407E-A947-70E740481C1C}">
                <a14:useLocalDpi xmlns="" xmlns:a14="http://schemas.microsoft.com/office/drawing/2010/main" val="0"/>
              </a:ext>
            </a:extLst>
          </a:blip>
          <a:srcRect/>
          <a:stretch>
            <a:fillRect/>
          </a:stretch>
        </p:blipFill>
        <p:spPr bwMode="auto">
          <a:xfrm>
            <a:off x="484980" y="6257888"/>
            <a:ext cx="458205" cy="306425"/>
          </a:xfrm>
          <a:prstGeom prst="rect">
            <a:avLst/>
          </a:prstGeom>
          <a:noFill/>
          <a:extLst>
            <a:ext uri="{909E8E84-426E-40DD-AFC4-6F175D3DCCD1}">
              <a14:hiddenFill xmlns="" xmlns:a14="http://schemas.microsoft.com/office/drawing/2010/main">
                <a:solidFill>
                  <a:srgbClr val="FFFFFF"/>
                </a:solidFill>
              </a14:hiddenFill>
            </a:ext>
          </a:extLst>
        </p:spPr>
      </p:pic>
      <p:sp>
        <p:nvSpPr>
          <p:cNvPr id="36" name="Foliennummernplatzhalter 27"/>
          <p:cNvSpPr txBox="1">
            <a:spLocks/>
          </p:cNvSpPr>
          <p:nvPr/>
        </p:nvSpPr>
        <p:spPr>
          <a:xfrm>
            <a:off x="6553200" y="6528871"/>
            <a:ext cx="2124075" cy="329130"/>
          </a:xfrm>
          <a:prstGeom prst="rect">
            <a:avLst/>
          </a:prstGeom>
        </p:spPr>
        <p:txBody>
          <a:bodyPr vert="horz"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chemeClr val="tx1"/>
                </a:solidFill>
                <a:effectLst/>
                <a:uLnTx/>
                <a:uFillTx/>
                <a:latin typeface="+mn-lt"/>
                <a:ea typeface="+mn-ea"/>
                <a:cs typeface="+mn-cs"/>
              </a:rPr>
              <a:t>Slide </a:t>
            </a:r>
            <a:fld id="{AA807A42-CF27-4B84-8583-18EBE418342E}" type="slidenum">
              <a:rPr kumimoji="0" lang="de-DE"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DE" sz="9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 xmlns:p14="http://schemas.microsoft.com/office/powerpoint/2010/main" val="63867611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2" name="Objekt 141" hidden="1"/>
          <p:cNvGraphicFramePr>
            <a:graphicFrameLocks noChangeAspect="1"/>
          </p:cNvGraphicFramePr>
          <p:nvPr/>
        </p:nvGraphicFramePr>
        <p:xfrm>
          <a:off x="0" y="0"/>
          <a:ext cx="158750" cy="158750"/>
        </p:xfrm>
        <a:graphic>
          <a:graphicData uri="http://schemas.openxmlformats.org/presentationml/2006/ole">
            <p:oleObj spid="_x0000_s145410" name="think-cell Folie" r:id="rId4" imgW="360" imgH="360" progId="TCLayout.ActiveDocument.1">
              <p:embed/>
            </p:oleObj>
          </a:graphicData>
        </a:graphic>
      </p:graphicFrame>
      <p:sp>
        <p:nvSpPr>
          <p:cNvPr id="103" name="Eingekerbter Richtungspfeil 102"/>
          <p:cNvSpPr/>
          <p:nvPr/>
        </p:nvSpPr>
        <p:spPr>
          <a:xfrm>
            <a:off x="5544108" y="1700900"/>
            <a:ext cx="1728192" cy="828000"/>
          </a:xfrm>
          <a:prstGeom prst="chevron">
            <a:avLst>
              <a:gd name="adj" fmla="val 2045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800" dirty="0">
              <a:solidFill>
                <a:schemeClr val="tx1"/>
              </a:solidFill>
            </a:endParaRPr>
          </a:p>
        </p:txBody>
      </p:sp>
      <p:cxnSp>
        <p:nvCxnSpPr>
          <p:cNvPr id="153" name="Gerade Verbindung 152"/>
          <p:cNvCxnSpPr>
            <a:stCxn id="69" idx="3"/>
            <a:endCxn id="54" idx="3"/>
          </p:cNvCxnSpPr>
          <p:nvPr/>
        </p:nvCxnSpPr>
        <p:spPr>
          <a:xfrm flipH="1">
            <a:off x="8675689" y="1394744"/>
            <a:ext cx="1586" cy="4014253"/>
          </a:xfrm>
          <a:prstGeom prst="line">
            <a:avLst/>
          </a:prstGeom>
          <a:ln w="6350">
            <a:solidFill>
              <a:schemeClr val="bg1">
                <a:lumMod val="65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Gerade Verbindung 63"/>
          <p:cNvCxnSpPr>
            <a:endCxn id="46" idx="1"/>
          </p:cNvCxnSpPr>
          <p:nvPr/>
        </p:nvCxnSpPr>
        <p:spPr>
          <a:xfrm flipH="1">
            <a:off x="2726079" y="2122330"/>
            <a:ext cx="2112" cy="2566810"/>
          </a:xfrm>
          <a:prstGeom prst="line">
            <a:avLst/>
          </a:prstGeom>
          <a:ln w="6350">
            <a:solidFill>
              <a:schemeClr val="bg1">
                <a:lumMod val="65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8" name="Textplatzhalter 4"/>
          <p:cNvSpPr txBox="1">
            <a:spLocks/>
          </p:cNvSpPr>
          <p:nvPr/>
        </p:nvSpPr>
        <p:spPr>
          <a:xfrm>
            <a:off x="459687" y="403227"/>
            <a:ext cx="8217588" cy="960437"/>
          </a:xfrm>
          <a:prstGeom prst="rect">
            <a:avLst/>
          </a:prstGeom>
        </p:spPr>
        <p:txBody>
          <a:bodyPr lIns="0" tIns="0" rIns="0" bIns="0">
            <a:noAutofit/>
          </a:bodyPr>
          <a:lstStyle/>
          <a:p>
            <a:pPr>
              <a:lnSpc>
                <a:spcPts val="2800"/>
              </a:lnSpc>
              <a:defRPr/>
            </a:pPr>
            <a:r>
              <a:rPr lang="de-DE" sz="2800" b="1" cap="all" smtClean="0">
                <a:solidFill>
                  <a:srgbClr val="5678A9"/>
                </a:solidFill>
                <a:ea typeface="+mj-ea"/>
                <a:cs typeface="+mj-cs"/>
              </a:rPr>
              <a:t>maturity level management Process</a:t>
            </a:r>
            <a:r>
              <a:rPr lang="de-DE" sz="2800" b="1" cap="all" smtClean="0">
                <a:solidFill>
                  <a:srgbClr val="5678A9"/>
                </a:solidFill>
              </a:rPr>
              <a:t>.</a:t>
            </a:r>
            <a:endParaRPr lang="de-DE" sz="2800" b="1" cap="all" dirty="0" smtClean="0">
              <a:solidFill>
                <a:srgbClr val="5678A9"/>
              </a:solidFill>
              <a:ea typeface="+mj-ea"/>
              <a:cs typeface="+mj-cs"/>
            </a:endParaRPr>
          </a:p>
        </p:txBody>
      </p:sp>
      <p:sp>
        <p:nvSpPr>
          <p:cNvPr id="192" name="Fußzeilenplatzhalter 1"/>
          <p:cNvSpPr txBox="1">
            <a:spLocks/>
          </p:cNvSpPr>
          <p:nvPr/>
        </p:nvSpPr>
        <p:spPr>
          <a:xfrm>
            <a:off x="794595" y="6141308"/>
            <a:ext cx="1041102" cy="331787"/>
          </a:xfrm>
          <a:prstGeom prst="rect">
            <a:avLst/>
          </a:prstGeom>
        </p:spPr>
        <p:txBody>
          <a:bodyPr vert="horz" lIns="0" tIns="0" rIns="0" bIns="0" rtlCol="0" anchor="ctr"/>
          <a:lstStyle/>
          <a:p>
            <a:pPr>
              <a:defRPr/>
            </a:pPr>
            <a:r>
              <a:rPr lang="de-DE" sz="900" smtClean="0">
                <a:solidFill>
                  <a:prstClr val="black"/>
                </a:solidFill>
              </a:rPr>
              <a:t>Central </a:t>
            </a:r>
            <a:br>
              <a:rPr lang="de-DE" sz="900" smtClean="0">
                <a:solidFill>
                  <a:prstClr val="black"/>
                </a:solidFill>
              </a:rPr>
            </a:br>
            <a:r>
              <a:rPr lang="de-DE" sz="900" smtClean="0">
                <a:solidFill>
                  <a:prstClr val="black"/>
                </a:solidFill>
              </a:rPr>
              <a:t>milestones</a:t>
            </a:r>
            <a:endParaRPr lang="de-DE" sz="900" dirty="0">
              <a:solidFill>
                <a:prstClr val="black"/>
              </a:solidFill>
            </a:endParaRPr>
          </a:p>
        </p:txBody>
      </p:sp>
      <p:sp>
        <p:nvSpPr>
          <p:cNvPr id="90" name="Fußzeilenplatzhalter 89"/>
          <p:cNvSpPr>
            <a:spLocks noGrp="1"/>
          </p:cNvSpPr>
          <p:nvPr>
            <p:ph type="ftr" sz="quarter" idx="3"/>
          </p:nvPr>
        </p:nvSpPr>
        <p:spPr>
          <a:xfrm>
            <a:off x="468313" y="6526233"/>
            <a:ext cx="3180302" cy="331787"/>
          </a:xfrm>
        </p:spPr>
        <p:txBody>
          <a:bodyPr/>
          <a:lstStyle/>
          <a:p>
            <a:pPr algn="l"/>
            <a:r>
              <a:rPr lang="de-DE" smtClean="0">
                <a:solidFill>
                  <a:prstClr val="black"/>
                </a:solidFill>
              </a:rPr>
              <a:t>Maturity Level Management Total Vehicle, Communication, Version 4.2</a:t>
            </a:r>
            <a:endParaRPr lang="de-DE" dirty="0">
              <a:solidFill>
                <a:prstClr val="black"/>
              </a:solidFill>
            </a:endParaRPr>
          </a:p>
        </p:txBody>
      </p:sp>
      <p:sp>
        <p:nvSpPr>
          <p:cNvPr id="43" name="AutoShape 15"/>
          <p:cNvSpPr>
            <a:spLocks noChangeArrowheads="1"/>
          </p:cNvSpPr>
          <p:nvPr/>
        </p:nvSpPr>
        <p:spPr bwMode="auto">
          <a:xfrm>
            <a:off x="483485" y="6202541"/>
            <a:ext cx="224023" cy="209321"/>
          </a:xfrm>
          <a:prstGeom prst="flowChartDecision">
            <a:avLst/>
          </a:prstGeom>
          <a:solidFill>
            <a:schemeClr val="tx1">
              <a:lumMod val="75000"/>
              <a:lumOff val="25000"/>
            </a:schemeClr>
          </a:solidFill>
          <a:ln w="19050" algn="ctr">
            <a:solidFill>
              <a:srgbClr val="7DB3B3"/>
            </a:solidFill>
            <a:prstDash val="solid"/>
            <a:miter lim="800000"/>
            <a:headEnd/>
            <a:tailEnd/>
          </a:ln>
        </p:spPr>
        <p:txBody>
          <a:bodyPr wrap="none" anchor="ctr"/>
          <a:lstStyle/>
          <a:p>
            <a:pPr fontAlgn="base">
              <a:lnSpc>
                <a:spcPct val="95000"/>
              </a:lnSpc>
              <a:spcBef>
                <a:spcPct val="0"/>
              </a:spcBef>
              <a:spcAft>
                <a:spcPct val="0"/>
              </a:spcAft>
            </a:pPr>
            <a:endParaRPr lang="de-DE" dirty="0">
              <a:solidFill>
                <a:srgbClr val="000000"/>
              </a:solidFill>
            </a:endParaRPr>
          </a:p>
        </p:txBody>
      </p:sp>
      <p:sp>
        <p:nvSpPr>
          <p:cNvPr id="45" name="Fußzeilenplatzhalter 1"/>
          <p:cNvSpPr txBox="1">
            <a:spLocks/>
          </p:cNvSpPr>
          <p:nvPr/>
        </p:nvSpPr>
        <p:spPr>
          <a:xfrm>
            <a:off x="1874715" y="6154474"/>
            <a:ext cx="1041102" cy="331787"/>
          </a:xfrm>
          <a:prstGeom prst="rect">
            <a:avLst/>
          </a:prstGeom>
        </p:spPr>
        <p:txBody>
          <a:bodyPr vert="horz" lIns="0" tIns="0" rIns="0" bIns="0" rtlCol="0" anchor="ctr"/>
          <a:lstStyle/>
          <a:p>
            <a:pPr>
              <a:defRPr/>
            </a:pPr>
            <a:r>
              <a:rPr lang="de-DE" sz="900" smtClean="0">
                <a:solidFill>
                  <a:prstClr val="black"/>
                </a:solidFill>
              </a:rPr>
              <a:t>Review dates</a:t>
            </a:r>
            <a:endParaRPr lang="de-DE" sz="900" dirty="0">
              <a:solidFill>
                <a:prstClr val="black"/>
              </a:solidFill>
            </a:endParaRPr>
          </a:p>
        </p:txBody>
      </p:sp>
      <p:sp>
        <p:nvSpPr>
          <p:cNvPr id="46" name="Pfeil nach rechts 45"/>
          <p:cNvSpPr/>
          <p:nvPr/>
        </p:nvSpPr>
        <p:spPr>
          <a:xfrm>
            <a:off x="2726079" y="4437112"/>
            <a:ext cx="5953503" cy="504056"/>
          </a:xfrm>
          <a:prstGeom prst="rightArrow">
            <a:avLst>
              <a:gd name="adj1" fmla="val 50000"/>
              <a:gd name="adj2" fmla="val 22248"/>
            </a:avLst>
          </a:prstGeom>
          <a:solidFill>
            <a:schemeClr val="tx2">
              <a:lumMod val="40000"/>
              <a:lumOff val="6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err="1" smtClean="0">
                <a:solidFill>
                  <a:prstClr val="black"/>
                </a:solidFill>
              </a:rPr>
              <a:t>Length</a:t>
            </a:r>
            <a:r>
              <a:rPr lang="de-DE" sz="1100" b="1" dirty="0" smtClean="0">
                <a:solidFill>
                  <a:prstClr val="black"/>
                </a:solidFill>
              </a:rPr>
              <a:t> </a:t>
            </a:r>
            <a:r>
              <a:rPr lang="de-DE" sz="1100" b="1" dirty="0" err="1" smtClean="0">
                <a:solidFill>
                  <a:prstClr val="black"/>
                </a:solidFill>
              </a:rPr>
              <a:t>of</a:t>
            </a:r>
            <a:r>
              <a:rPr lang="de-DE" sz="1100" b="1" dirty="0" smtClean="0">
                <a:solidFill>
                  <a:prstClr val="black"/>
                </a:solidFill>
              </a:rPr>
              <a:t> </a:t>
            </a:r>
            <a:r>
              <a:rPr lang="de-DE" sz="1100" b="1" u="sng" dirty="0" err="1" smtClean="0">
                <a:solidFill>
                  <a:prstClr val="black"/>
                </a:solidFill>
              </a:rPr>
              <a:t>one</a:t>
            </a:r>
            <a:endParaRPr lang="de-DE" sz="1100" b="1" u="sng" dirty="0" smtClean="0">
              <a:solidFill>
                <a:prstClr val="black"/>
              </a:solidFill>
            </a:endParaRPr>
          </a:p>
          <a:p>
            <a:pPr algn="ctr"/>
            <a:r>
              <a:rPr lang="de-DE" sz="1100" b="1" dirty="0" err="1" smtClean="0">
                <a:solidFill>
                  <a:prstClr val="black"/>
                </a:solidFill>
              </a:rPr>
              <a:t>maturity</a:t>
            </a:r>
            <a:r>
              <a:rPr lang="de-DE" sz="1100" b="1" dirty="0" smtClean="0">
                <a:solidFill>
                  <a:prstClr val="black"/>
                </a:solidFill>
              </a:rPr>
              <a:t> </a:t>
            </a:r>
            <a:r>
              <a:rPr lang="de-DE" sz="1100" b="1" dirty="0" err="1" smtClean="0">
                <a:solidFill>
                  <a:prstClr val="black"/>
                </a:solidFill>
              </a:rPr>
              <a:t>step</a:t>
            </a:r>
            <a:endParaRPr lang="de-DE" sz="1100" b="1" dirty="0">
              <a:solidFill>
                <a:prstClr val="black"/>
              </a:solidFill>
            </a:endParaRPr>
          </a:p>
        </p:txBody>
      </p:sp>
      <p:sp>
        <p:nvSpPr>
          <p:cNvPr id="41" name="Fußzeilenplatzhalter 1"/>
          <p:cNvSpPr txBox="1">
            <a:spLocks/>
          </p:cNvSpPr>
          <p:nvPr/>
        </p:nvSpPr>
        <p:spPr>
          <a:xfrm>
            <a:off x="460362" y="5661250"/>
            <a:ext cx="8208962" cy="331787"/>
          </a:xfrm>
          <a:prstGeom prst="rect">
            <a:avLst/>
          </a:prstGeom>
        </p:spPr>
        <p:txBody>
          <a:bodyPr vert="horz" lIns="0" tIns="0" rIns="0" bIns="0" rtlCol="0" anchor="ctr"/>
          <a:lstStyle/>
          <a:p>
            <a:pPr>
              <a:defRPr/>
            </a:pPr>
            <a:r>
              <a:rPr lang="de-DE" sz="900" dirty="0" smtClean="0">
                <a:solidFill>
                  <a:prstClr val="black"/>
                </a:solidFill>
              </a:rPr>
              <a:t>* </a:t>
            </a:r>
            <a:r>
              <a:rPr lang="de-DE" sz="900" dirty="0" err="1" smtClean="0">
                <a:solidFill>
                  <a:prstClr val="black"/>
                </a:solidFill>
              </a:rPr>
              <a:t>Maturity</a:t>
            </a:r>
            <a:r>
              <a:rPr lang="de-DE" sz="900" dirty="0" smtClean="0">
                <a:solidFill>
                  <a:prstClr val="black"/>
                </a:solidFill>
              </a:rPr>
              <a:t> </a:t>
            </a:r>
            <a:r>
              <a:rPr lang="de-DE" sz="900" dirty="0" err="1" smtClean="0">
                <a:solidFill>
                  <a:prstClr val="black"/>
                </a:solidFill>
              </a:rPr>
              <a:t>level-target</a:t>
            </a:r>
            <a:r>
              <a:rPr lang="de-DE" sz="900" dirty="0" smtClean="0">
                <a:solidFill>
                  <a:prstClr val="black"/>
                </a:solidFill>
              </a:rPr>
              <a:t> </a:t>
            </a:r>
            <a:r>
              <a:rPr lang="de-DE" sz="900" dirty="0" err="1" smtClean="0">
                <a:solidFill>
                  <a:prstClr val="black"/>
                </a:solidFill>
              </a:rPr>
              <a:t>planning</a:t>
            </a:r>
            <a:r>
              <a:rPr lang="de-DE" sz="900" dirty="0" smtClean="0">
                <a:solidFill>
                  <a:prstClr val="black"/>
                </a:solidFill>
              </a:rPr>
              <a:t> </a:t>
            </a:r>
            <a:r>
              <a:rPr lang="de-DE" sz="900" dirty="0" err="1" smtClean="0">
                <a:solidFill>
                  <a:prstClr val="black"/>
                </a:solidFill>
              </a:rPr>
              <a:t>is</a:t>
            </a:r>
            <a:r>
              <a:rPr lang="de-DE" sz="900" dirty="0" smtClean="0">
                <a:solidFill>
                  <a:prstClr val="black"/>
                </a:solidFill>
              </a:rPr>
              <a:t> </a:t>
            </a:r>
            <a:r>
              <a:rPr lang="de-DE" sz="900" dirty="0" err="1" smtClean="0">
                <a:solidFill>
                  <a:prstClr val="black"/>
                </a:solidFill>
              </a:rPr>
              <a:t>planned</a:t>
            </a:r>
            <a:r>
              <a:rPr lang="de-DE" sz="900" dirty="0" smtClean="0">
                <a:solidFill>
                  <a:prstClr val="black"/>
                </a:solidFill>
              </a:rPr>
              <a:t> </a:t>
            </a:r>
            <a:r>
              <a:rPr lang="de-DE" sz="900" dirty="0" err="1" smtClean="0">
                <a:solidFill>
                  <a:prstClr val="black"/>
                </a:solidFill>
              </a:rPr>
              <a:t>at</a:t>
            </a:r>
            <a:r>
              <a:rPr lang="de-DE" sz="900" dirty="0" smtClean="0">
                <a:solidFill>
                  <a:prstClr val="black"/>
                </a:solidFill>
              </a:rPr>
              <a:t> </a:t>
            </a:r>
            <a:r>
              <a:rPr lang="de-DE" sz="900" dirty="0" err="1" smtClean="0">
                <a:solidFill>
                  <a:prstClr val="black"/>
                </a:solidFill>
              </a:rPr>
              <a:t>the</a:t>
            </a:r>
            <a:r>
              <a:rPr lang="de-DE" sz="900" dirty="0" smtClean="0">
                <a:solidFill>
                  <a:prstClr val="black"/>
                </a:solidFill>
              </a:rPr>
              <a:t> </a:t>
            </a:r>
            <a:r>
              <a:rPr lang="de-DE" sz="900" dirty="0" err="1" smtClean="0">
                <a:solidFill>
                  <a:prstClr val="black"/>
                </a:solidFill>
              </a:rPr>
              <a:t>beginning</a:t>
            </a:r>
            <a:r>
              <a:rPr lang="de-DE" sz="900" dirty="0" smtClean="0">
                <a:solidFill>
                  <a:prstClr val="black"/>
                </a:solidFill>
              </a:rPr>
              <a:t> </a:t>
            </a:r>
            <a:r>
              <a:rPr lang="de-DE" sz="900" dirty="0" err="1" smtClean="0">
                <a:solidFill>
                  <a:prstClr val="black"/>
                </a:solidFill>
              </a:rPr>
              <a:t>of</a:t>
            </a:r>
            <a:r>
              <a:rPr lang="de-DE" sz="900" dirty="0" smtClean="0">
                <a:solidFill>
                  <a:prstClr val="black"/>
                </a:solidFill>
              </a:rPr>
              <a:t> a </a:t>
            </a:r>
            <a:r>
              <a:rPr lang="de-DE" sz="900" dirty="0" err="1" smtClean="0">
                <a:solidFill>
                  <a:prstClr val="black"/>
                </a:solidFill>
              </a:rPr>
              <a:t>vehicle</a:t>
            </a:r>
            <a:r>
              <a:rPr lang="de-DE" sz="900" dirty="0" smtClean="0">
                <a:solidFill>
                  <a:prstClr val="black"/>
                </a:solidFill>
              </a:rPr>
              <a:t> </a:t>
            </a:r>
            <a:r>
              <a:rPr lang="de-DE" sz="900" dirty="0" err="1" smtClean="0">
                <a:solidFill>
                  <a:prstClr val="black"/>
                </a:solidFill>
              </a:rPr>
              <a:t>project</a:t>
            </a:r>
            <a:r>
              <a:rPr lang="de-DE" sz="900" dirty="0" smtClean="0">
                <a:solidFill>
                  <a:prstClr val="black"/>
                </a:solidFill>
              </a:rPr>
              <a:t>, </a:t>
            </a:r>
            <a:r>
              <a:rPr lang="de-DE" sz="900" dirty="0" err="1" smtClean="0">
                <a:solidFill>
                  <a:prstClr val="black"/>
                </a:solidFill>
              </a:rPr>
              <a:t>initially</a:t>
            </a:r>
            <a:r>
              <a:rPr lang="de-DE" sz="900" dirty="0" smtClean="0">
                <a:solidFill>
                  <a:prstClr val="black"/>
                </a:solidFill>
              </a:rPr>
              <a:t> </a:t>
            </a:r>
            <a:r>
              <a:rPr lang="de-DE" sz="900" dirty="0" err="1" smtClean="0">
                <a:solidFill>
                  <a:prstClr val="black"/>
                </a:solidFill>
              </a:rPr>
              <a:t>for</a:t>
            </a:r>
            <a:r>
              <a:rPr lang="de-DE" sz="900" dirty="0" smtClean="0">
                <a:solidFill>
                  <a:prstClr val="black"/>
                </a:solidFill>
              </a:rPr>
              <a:t> all </a:t>
            </a:r>
            <a:r>
              <a:rPr lang="de-DE" sz="900" dirty="0" err="1" smtClean="0">
                <a:solidFill>
                  <a:prstClr val="black"/>
                </a:solidFill>
              </a:rPr>
              <a:t>maturity</a:t>
            </a:r>
            <a:r>
              <a:rPr lang="de-DE" sz="900" dirty="0" smtClean="0">
                <a:solidFill>
                  <a:prstClr val="black"/>
                </a:solidFill>
              </a:rPr>
              <a:t> </a:t>
            </a:r>
            <a:r>
              <a:rPr lang="de-DE" sz="900" dirty="0" err="1" smtClean="0">
                <a:solidFill>
                  <a:prstClr val="black"/>
                </a:solidFill>
              </a:rPr>
              <a:t>steps</a:t>
            </a:r>
            <a:r>
              <a:rPr lang="de-DE" sz="900" dirty="0" smtClean="0">
                <a:solidFill>
                  <a:prstClr val="black"/>
                </a:solidFill>
              </a:rPr>
              <a:t>. </a:t>
            </a:r>
            <a:r>
              <a:rPr lang="de-DE" sz="900" dirty="0" err="1" smtClean="0">
                <a:solidFill>
                  <a:prstClr val="black"/>
                </a:solidFill>
              </a:rPr>
              <a:t>Hereby</a:t>
            </a:r>
            <a:r>
              <a:rPr lang="de-DE" sz="900" dirty="0" smtClean="0">
                <a:solidFill>
                  <a:prstClr val="black"/>
                </a:solidFill>
              </a:rPr>
              <a:t>, </a:t>
            </a:r>
            <a:r>
              <a:rPr lang="de-DE" sz="900" dirty="0" err="1" smtClean="0">
                <a:solidFill>
                  <a:prstClr val="black"/>
                </a:solidFill>
              </a:rPr>
              <a:t>maturity</a:t>
            </a:r>
            <a:r>
              <a:rPr lang="de-DE" sz="900" dirty="0" smtClean="0">
                <a:solidFill>
                  <a:prstClr val="black"/>
                </a:solidFill>
              </a:rPr>
              <a:t> </a:t>
            </a:r>
            <a:r>
              <a:rPr lang="de-DE" sz="900" dirty="0" err="1" smtClean="0">
                <a:solidFill>
                  <a:prstClr val="black"/>
                </a:solidFill>
              </a:rPr>
              <a:t>level-target</a:t>
            </a:r>
            <a:r>
              <a:rPr lang="de-DE" sz="900" dirty="0" smtClean="0">
                <a:solidFill>
                  <a:prstClr val="black"/>
                </a:solidFill>
              </a:rPr>
              <a:t> </a:t>
            </a:r>
            <a:r>
              <a:rPr lang="de-DE" sz="900" dirty="0" err="1" smtClean="0">
                <a:solidFill>
                  <a:prstClr val="black"/>
                </a:solidFill>
              </a:rPr>
              <a:t>planning</a:t>
            </a:r>
            <a:r>
              <a:rPr lang="de-DE" sz="900" dirty="0" smtClean="0">
                <a:solidFill>
                  <a:prstClr val="black"/>
                </a:solidFill>
              </a:rPr>
              <a:t> </a:t>
            </a:r>
            <a:r>
              <a:rPr lang="de-DE" sz="900" dirty="0" err="1" smtClean="0">
                <a:solidFill>
                  <a:prstClr val="black"/>
                </a:solidFill>
              </a:rPr>
              <a:t>and</a:t>
            </a:r>
            <a:r>
              <a:rPr lang="de-DE" sz="900" dirty="0" smtClean="0">
                <a:solidFill>
                  <a:prstClr val="black"/>
                </a:solidFill>
              </a:rPr>
              <a:t> </a:t>
            </a:r>
            <a:r>
              <a:rPr lang="de-DE" sz="900" dirty="0" err="1" smtClean="0">
                <a:solidFill>
                  <a:prstClr val="black"/>
                </a:solidFill>
              </a:rPr>
              <a:t>continous</a:t>
            </a:r>
            <a:r>
              <a:rPr lang="de-DE" sz="900" dirty="0" smtClean="0">
                <a:solidFill>
                  <a:prstClr val="black"/>
                </a:solidFill>
              </a:rPr>
              <a:t> </a:t>
            </a:r>
            <a:r>
              <a:rPr lang="de-DE" sz="900" dirty="0" err="1" smtClean="0">
                <a:solidFill>
                  <a:prstClr val="black"/>
                </a:solidFill>
              </a:rPr>
              <a:t>testing</a:t>
            </a:r>
            <a:r>
              <a:rPr lang="de-DE" sz="900" dirty="0" smtClean="0">
                <a:solidFill>
                  <a:prstClr val="black"/>
                </a:solidFill>
              </a:rPr>
              <a:t> </a:t>
            </a:r>
            <a:r>
              <a:rPr lang="de-DE" sz="900" dirty="0" err="1" smtClean="0">
                <a:solidFill>
                  <a:prstClr val="black"/>
                </a:solidFill>
              </a:rPr>
              <a:t>provide</a:t>
            </a:r>
            <a:r>
              <a:rPr lang="de-DE" sz="900" dirty="0" smtClean="0">
                <a:solidFill>
                  <a:prstClr val="black"/>
                </a:solidFill>
              </a:rPr>
              <a:t> </a:t>
            </a:r>
            <a:r>
              <a:rPr lang="de-DE" sz="900" dirty="0" err="1" smtClean="0">
                <a:solidFill>
                  <a:prstClr val="black"/>
                </a:solidFill>
              </a:rPr>
              <a:t>inputs</a:t>
            </a:r>
            <a:r>
              <a:rPr lang="de-DE" sz="900" dirty="0" smtClean="0">
                <a:solidFill>
                  <a:prstClr val="black"/>
                </a:solidFill>
              </a:rPr>
              <a:t> </a:t>
            </a:r>
            <a:r>
              <a:rPr lang="de-DE" sz="900" dirty="0" err="1" smtClean="0">
                <a:solidFill>
                  <a:prstClr val="black"/>
                </a:solidFill>
              </a:rPr>
              <a:t>to</a:t>
            </a:r>
            <a:r>
              <a:rPr lang="de-DE" sz="900" dirty="0" smtClean="0">
                <a:solidFill>
                  <a:prstClr val="black"/>
                </a:solidFill>
              </a:rPr>
              <a:t> </a:t>
            </a:r>
            <a:r>
              <a:rPr lang="de-DE" sz="900" dirty="0" err="1" smtClean="0">
                <a:solidFill>
                  <a:prstClr val="black"/>
                </a:solidFill>
              </a:rPr>
              <a:t>one</a:t>
            </a:r>
            <a:r>
              <a:rPr lang="de-DE" sz="900" dirty="0" smtClean="0">
                <a:solidFill>
                  <a:prstClr val="black"/>
                </a:solidFill>
              </a:rPr>
              <a:t> </a:t>
            </a:r>
            <a:r>
              <a:rPr lang="de-DE" sz="900" dirty="0" err="1" smtClean="0">
                <a:solidFill>
                  <a:prstClr val="black"/>
                </a:solidFill>
              </a:rPr>
              <a:t>another</a:t>
            </a:r>
            <a:r>
              <a:rPr lang="de-DE" sz="900" dirty="0" smtClean="0">
                <a:solidFill>
                  <a:prstClr val="black"/>
                </a:solidFill>
              </a:rPr>
              <a:t>. A </a:t>
            </a:r>
            <a:r>
              <a:rPr lang="de-DE" sz="900" dirty="0" err="1" smtClean="0">
                <a:solidFill>
                  <a:prstClr val="black"/>
                </a:solidFill>
              </a:rPr>
              <a:t>comparison</a:t>
            </a:r>
            <a:r>
              <a:rPr lang="de-DE" sz="900" dirty="0" smtClean="0">
                <a:solidFill>
                  <a:prstClr val="black"/>
                </a:solidFill>
              </a:rPr>
              <a:t> </a:t>
            </a:r>
            <a:r>
              <a:rPr lang="de-DE" sz="900" dirty="0" err="1" smtClean="0">
                <a:solidFill>
                  <a:prstClr val="black"/>
                </a:solidFill>
              </a:rPr>
              <a:t>of</a:t>
            </a:r>
            <a:r>
              <a:rPr lang="de-DE" sz="900" dirty="0" smtClean="0">
                <a:solidFill>
                  <a:prstClr val="black"/>
                </a:solidFill>
              </a:rPr>
              <a:t> </a:t>
            </a:r>
            <a:r>
              <a:rPr lang="de-DE" sz="900" dirty="0" err="1" smtClean="0">
                <a:solidFill>
                  <a:prstClr val="black"/>
                </a:solidFill>
              </a:rPr>
              <a:t>this</a:t>
            </a:r>
            <a:r>
              <a:rPr lang="de-DE" sz="900" dirty="0" smtClean="0">
                <a:solidFill>
                  <a:prstClr val="black"/>
                </a:solidFill>
              </a:rPr>
              <a:t> </a:t>
            </a:r>
            <a:r>
              <a:rPr lang="de-DE" sz="900" dirty="0" err="1" smtClean="0">
                <a:solidFill>
                  <a:prstClr val="black"/>
                </a:solidFill>
              </a:rPr>
              <a:t>planning</a:t>
            </a:r>
            <a:r>
              <a:rPr lang="de-DE" sz="900" dirty="0" smtClean="0">
                <a:solidFill>
                  <a:prstClr val="black"/>
                </a:solidFill>
              </a:rPr>
              <a:t> </a:t>
            </a:r>
            <a:r>
              <a:rPr lang="de-DE" sz="900" dirty="0" err="1" smtClean="0">
                <a:solidFill>
                  <a:prstClr val="black"/>
                </a:solidFill>
              </a:rPr>
              <a:t>procedure</a:t>
            </a:r>
            <a:r>
              <a:rPr lang="de-DE" sz="900" dirty="0" smtClean="0">
                <a:solidFill>
                  <a:prstClr val="black"/>
                </a:solidFill>
              </a:rPr>
              <a:t>  </a:t>
            </a:r>
            <a:r>
              <a:rPr lang="de-DE" sz="900" dirty="0" err="1" smtClean="0">
                <a:solidFill>
                  <a:prstClr val="black"/>
                </a:solidFill>
              </a:rPr>
              <a:t>takes</a:t>
            </a:r>
            <a:r>
              <a:rPr lang="de-DE" sz="900" dirty="0" smtClean="0">
                <a:solidFill>
                  <a:prstClr val="black"/>
                </a:solidFill>
              </a:rPr>
              <a:t> </a:t>
            </a:r>
            <a:r>
              <a:rPr lang="de-DE" sz="900" dirty="0" err="1" smtClean="0">
                <a:solidFill>
                  <a:prstClr val="black"/>
                </a:solidFill>
              </a:rPr>
              <a:t>place</a:t>
            </a:r>
            <a:r>
              <a:rPr lang="de-DE" sz="900" dirty="0" smtClean="0">
                <a:solidFill>
                  <a:prstClr val="black"/>
                </a:solidFill>
              </a:rPr>
              <a:t> </a:t>
            </a:r>
            <a:r>
              <a:rPr lang="de-DE" sz="900" dirty="0" err="1" smtClean="0">
                <a:solidFill>
                  <a:prstClr val="black"/>
                </a:solidFill>
              </a:rPr>
              <a:t>subsequently</a:t>
            </a:r>
            <a:r>
              <a:rPr lang="de-DE" sz="900" dirty="0" smtClean="0">
                <a:solidFill>
                  <a:prstClr val="black"/>
                </a:solidFill>
              </a:rPr>
              <a:t> </a:t>
            </a:r>
            <a:r>
              <a:rPr lang="de-DE" sz="900" dirty="0" err="1" smtClean="0">
                <a:solidFill>
                  <a:prstClr val="black"/>
                </a:solidFill>
              </a:rPr>
              <a:t>at</a:t>
            </a:r>
            <a:r>
              <a:rPr lang="de-DE" sz="900" dirty="0" smtClean="0">
                <a:solidFill>
                  <a:prstClr val="black"/>
                </a:solidFill>
              </a:rPr>
              <a:t> </a:t>
            </a:r>
            <a:r>
              <a:rPr lang="de-DE" sz="900" dirty="0" err="1" smtClean="0">
                <a:solidFill>
                  <a:prstClr val="black"/>
                </a:solidFill>
              </a:rPr>
              <a:t>the</a:t>
            </a:r>
            <a:r>
              <a:rPr lang="de-DE" sz="900" dirty="0" smtClean="0">
                <a:solidFill>
                  <a:prstClr val="black"/>
                </a:solidFill>
              </a:rPr>
              <a:t> </a:t>
            </a:r>
            <a:r>
              <a:rPr lang="de-DE" sz="900" dirty="0" err="1" smtClean="0">
                <a:solidFill>
                  <a:prstClr val="black"/>
                </a:solidFill>
              </a:rPr>
              <a:t>beginning</a:t>
            </a:r>
            <a:r>
              <a:rPr lang="de-DE" sz="900" dirty="0" smtClean="0">
                <a:solidFill>
                  <a:prstClr val="black"/>
                </a:solidFill>
              </a:rPr>
              <a:t> </a:t>
            </a:r>
            <a:r>
              <a:rPr lang="de-DE" sz="900" dirty="0" err="1" smtClean="0">
                <a:solidFill>
                  <a:prstClr val="black"/>
                </a:solidFill>
              </a:rPr>
              <a:t>of</a:t>
            </a:r>
            <a:r>
              <a:rPr lang="de-DE" sz="900" dirty="0" smtClean="0">
                <a:solidFill>
                  <a:prstClr val="black"/>
                </a:solidFill>
              </a:rPr>
              <a:t> </a:t>
            </a:r>
            <a:r>
              <a:rPr lang="de-DE" sz="900" dirty="0" err="1" smtClean="0">
                <a:solidFill>
                  <a:prstClr val="black"/>
                </a:solidFill>
              </a:rPr>
              <a:t>every</a:t>
            </a:r>
            <a:r>
              <a:rPr lang="de-DE" sz="900" dirty="0" smtClean="0">
                <a:solidFill>
                  <a:prstClr val="black"/>
                </a:solidFill>
              </a:rPr>
              <a:t> </a:t>
            </a:r>
            <a:r>
              <a:rPr lang="de-DE" sz="900" dirty="0" err="1" smtClean="0">
                <a:solidFill>
                  <a:prstClr val="black"/>
                </a:solidFill>
              </a:rPr>
              <a:t>single</a:t>
            </a:r>
            <a:r>
              <a:rPr lang="de-DE" sz="900" dirty="0" smtClean="0">
                <a:solidFill>
                  <a:prstClr val="black"/>
                </a:solidFill>
              </a:rPr>
              <a:t> </a:t>
            </a:r>
            <a:r>
              <a:rPr lang="de-DE" sz="900" dirty="0" err="1" smtClean="0">
                <a:solidFill>
                  <a:prstClr val="black"/>
                </a:solidFill>
              </a:rPr>
              <a:t>maturity</a:t>
            </a:r>
            <a:r>
              <a:rPr lang="de-DE" sz="900" dirty="0" smtClean="0">
                <a:solidFill>
                  <a:prstClr val="black"/>
                </a:solidFill>
              </a:rPr>
              <a:t> </a:t>
            </a:r>
            <a:r>
              <a:rPr lang="de-DE" sz="900" dirty="0" err="1" smtClean="0">
                <a:solidFill>
                  <a:prstClr val="black"/>
                </a:solidFill>
              </a:rPr>
              <a:t>step</a:t>
            </a:r>
            <a:r>
              <a:rPr lang="de-DE" sz="900" dirty="0" smtClean="0">
                <a:solidFill>
                  <a:prstClr val="black"/>
                </a:solidFill>
              </a:rPr>
              <a:t>.  </a:t>
            </a:r>
          </a:p>
        </p:txBody>
      </p:sp>
      <p:sp>
        <p:nvSpPr>
          <p:cNvPr id="50" name="Nach unten gekrümmter Pfeil 49"/>
          <p:cNvSpPr/>
          <p:nvPr/>
        </p:nvSpPr>
        <p:spPr>
          <a:xfrm rot="5400000">
            <a:off x="6128293" y="4517011"/>
            <a:ext cx="450922" cy="413107"/>
          </a:xfrm>
          <a:prstGeom prst="curvedDownArrow">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black"/>
              </a:solidFill>
            </a:endParaRPr>
          </a:p>
        </p:txBody>
      </p:sp>
      <p:sp>
        <p:nvSpPr>
          <p:cNvPr id="51" name="Nach unten gekrümmter Pfeil 50"/>
          <p:cNvSpPr/>
          <p:nvPr/>
        </p:nvSpPr>
        <p:spPr>
          <a:xfrm rot="16545886">
            <a:off x="4757829" y="4483453"/>
            <a:ext cx="450922" cy="413107"/>
          </a:xfrm>
          <a:prstGeom prst="curvedDownArrow">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black"/>
              </a:solidFill>
            </a:endParaRPr>
          </a:p>
        </p:txBody>
      </p:sp>
      <p:sp>
        <p:nvSpPr>
          <p:cNvPr id="52" name="Fußzeilenplatzhalter 1"/>
          <p:cNvSpPr txBox="1">
            <a:spLocks/>
          </p:cNvSpPr>
          <p:nvPr/>
        </p:nvSpPr>
        <p:spPr>
          <a:xfrm>
            <a:off x="4860444" y="4740019"/>
            <a:ext cx="1638521" cy="331787"/>
          </a:xfrm>
          <a:prstGeom prst="rect">
            <a:avLst/>
          </a:prstGeom>
        </p:spPr>
        <p:txBody>
          <a:bodyPr vert="horz" lIns="0" tIns="0" rIns="0" bIns="0" rtlCol="0" anchor="ctr"/>
          <a:lstStyle/>
          <a:p>
            <a:pPr algn="ctr">
              <a:defRPr/>
            </a:pPr>
            <a:r>
              <a:rPr lang="de-DE" sz="900" smtClean="0">
                <a:solidFill>
                  <a:prstClr val="black"/>
                </a:solidFill>
              </a:rPr>
              <a:t>(cyclical process)</a:t>
            </a:r>
            <a:endParaRPr lang="de-DE" sz="900" dirty="0">
              <a:solidFill>
                <a:prstClr val="black"/>
              </a:solidFill>
            </a:endParaRPr>
          </a:p>
        </p:txBody>
      </p:sp>
      <p:sp>
        <p:nvSpPr>
          <p:cNvPr id="54" name="Pfeil nach rechts 53"/>
          <p:cNvSpPr/>
          <p:nvPr/>
        </p:nvSpPr>
        <p:spPr>
          <a:xfrm>
            <a:off x="468314" y="5156969"/>
            <a:ext cx="8207375" cy="504056"/>
          </a:xfrm>
          <a:prstGeom prst="rightArrow">
            <a:avLst>
              <a:gd name="adj1" fmla="val 50000"/>
              <a:gd name="adj2" fmla="val 22248"/>
            </a:avLst>
          </a:prstGeom>
          <a:solidFill>
            <a:schemeClr val="tx2">
              <a:lumMod val="40000"/>
              <a:lumOff val="6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smtClean="0">
                <a:solidFill>
                  <a:prstClr val="black"/>
                </a:solidFill>
              </a:rPr>
              <a:t>Managing deviations</a:t>
            </a:r>
            <a:endParaRPr lang="de-DE" sz="1100" b="1" dirty="0">
              <a:solidFill>
                <a:prstClr val="black"/>
              </a:solidFill>
            </a:endParaRPr>
          </a:p>
        </p:txBody>
      </p:sp>
      <p:sp>
        <p:nvSpPr>
          <p:cNvPr id="55" name="Richtungspfeil 54"/>
          <p:cNvSpPr/>
          <p:nvPr/>
        </p:nvSpPr>
        <p:spPr bwMode="auto">
          <a:xfrm>
            <a:off x="5979187" y="6188931"/>
            <a:ext cx="900000" cy="288000"/>
          </a:xfrm>
          <a:prstGeom prst="homePlate">
            <a:avLst>
              <a:gd name="adj" fmla="val 20584"/>
            </a:avLst>
          </a:prstGeom>
          <a:solidFill>
            <a:schemeClr val="tx2">
              <a:lumMod val="40000"/>
              <a:lumOff val="60000"/>
            </a:schemeClr>
          </a:solidFill>
          <a:ln w="12700" cap="flat" cmpd="sng" algn="ctr">
            <a:solidFill>
              <a:schemeClr val="bg1"/>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algn="ctr" fontAlgn="base">
              <a:lnSpc>
                <a:spcPct val="95000"/>
              </a:lnSpc>
              <a:spcBef>
                <a:spcPct val="0"/>
              </a:spcBef>
              <a:spcAft>
                <a:spcPct val="0"/>
              </a:spcAft>
            </a:pPr>
            <a:endParaRPr lang="de-DE" dirty="0" smtClean="0">
              <a:solidFill>
                <a:srgbClr val="000000"/>
              </a:solidFill>
            </a:endParaRPr>
          </a:p>
        </p:txBody>
      </p:sp>
      <p:sp>
        <p:nvSpPr>
          <p:cNvPr id="57" name="Richtungspfeil 56"/>
          <p:cNvSpPr/>
          <p:nvPr/>
        </p:nvSpPr>
        <p:spPr bwMode="auto">
          <a:xfrm>
            <a:off x="3085863" y="6203685"/>
            <a:ext cx="900000" cy="288000"/>
          </a:xfrm>
          <a:prstGeom prst="homePlate">
            <a:avLst>
              <a:gd name="adj" fmla="val 27938"/>
            </a:avLst>
          </a:prstGeom>
          <a:solidFill>
            <a:schemeClr val="bg1">
              <a:lumMod val="85000"/>
            </a:schemeClr>
          </a:solidFill>
          <a:ln w="12700" cap="flat" cmpd="sng" algn="ctr">
            <a:solidFill>
              <a:schemeClr val="bg1"/>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algn="ctr" fontAlgn="base">
              <a:lnSpc>
                <a:spcPct val="95000"/>
              </a:lnSpc>
              <a:spcBef>
                <a:spcPct val="0"/>
              </a:spcBef>
              <a:spcAft>
                <a:spcPct val="0"/>
              </a:spcAft>
            </a:pPr>
            <a:endParaRPr lang="de-DE" dirty="0" smtClean="0">
              <a:solidFill>
                <a:srgbClr val="000000"/>
              </a:solidFill>
            </a:endParaRPr>
          </a:p>
        </p:txBody>
      </p:sp>
      <p:sp>
        <p:nvSpPr>
          <p:cNvPr id="58" name="Fußzeilenplatzhalter 1"/>
          <p:cNvSpPr txBox="1">
            <a:spLocks/>
          </p:cNvSpPr>
          <p:nvPr/>
        </p:nvSpPr>
        <p:spPr>
          <a:xfrm>
            <a:off x="7021728" y="6141308"/>
            <a:ext cx="1935895" cy="331787"/>
          </a:xfrm>
          <a:prstGeom prst="rect">
            <a:avLst/>
          </a:prstGeom>
        </p:spPr>
        <p:txBody>
          <a:bodyPr vert="horz" lIns="0" tIns="0" rIns="0" bIns="0" rtlCol="0" anchor="ctr"/>
          <a:lstStyle/>
          <a:p>
            <a:pPr>
              <a:defRPr/>
            </a:pPr>
            <a:r>
              <a:rPr lang="de-DE" sz="900" smtClean="0">
                <a:solidFill>
                  <a:prstClr val="black"/>
                </a:solidFill>
              </a:rPr>
              <a:t>Generic process part ( singular)</a:t>
            </a:r>
            <a:endParaRPr lang="de-DE" sz="900" dirty="0">
              <a:solidFill>
                <a:prstClr val="black"/>
              </a:solidFill>
            </a:endParaRPr>
          </a:p>
        </p:txBody>
      </p:sp>
      <p:sp>
        <p:nvSpPr>
          <p:cNvPr id="59" name="Fußzeilenplatzhalter 1"/>
          <p:cNvSpPr txBox="1">
            <a:spLocks/>
          </p:cNvSpPr>
          <p:nvPr/>
        </p:nvSpPr>
        <p:spPr>
          <a:xfrm>
            <a:off x="4067944" y="6167175"/>
            <a:ext cx="2697894" cy="331787"/>
          </a:xfrm>
          <a:prstGeom prst="rect">
            <a:avLst/>
          </a:prstGeom>
        </p:spPr>
        <p:txBody>
          <a:bodyPr vert="horz" lIns="0" tIns="0" rIns="0" bIns="0" rtlCol="0" anchor="ctr"/>
          <a:lstStyle/>
          <a:p>
            <a:pPr>
              <a:defRPr/>
            </a:pPr>
            <a:r>
              <a:rPr lang="de-DE" sz="900" smtClean="0">
                <a:solidFill>
                  <a:prstClr val="black"/>
                </a:solidFill>
              </a:rPr>
              <a:t>Cyclical pocess part (repetitive)</a:t>
            </a:r>
            <a:endParaRPr lang="de-DE" sz="900" dirty="0">
              <a:solidFill>
                <a:prstClr val="black"/>
              </a:solidFill>
            </a:endParaRPr>
          </a:p>
        </p:txBody>
      </p:sp>
      <p:sp>
        <p:nvSpPr>
          <p:cNvPr id="62" name="Ellipse 61"/>
          <p:cNvSpPr/>
          <p:nvPr/>
        </p:nvSpPr>
        <p:spPr>
          <a:xfrm>
            <a:off x="1570288" y="6227781"/>
            <a:ext cx="180000" cy="180000"/>
          </a:xfrm>
          <a:prstGeom prst="ellipse">
            <a:avLst/>
          </a:prstGeom>
          <a:solidFill>
            <a:schemeClr val="tx2">
              <a:lumMod val="60000"/>
              <a:lumOff val="4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56" name="Ellipse 55"/>
          <p:cNvSpPr/>
          <p:nvPr/>
        </p:nvSpPr>
        <p:spPr>
          <a:xfrm>
            <a:off x="4217185" y="3198266"/>
            <a:ext cx="180000" cy="180000"/>
          </a:xfrm>
          <a:prstGeom prst="ellipse">
            <a:avLst/>
          </a:prstGeom>
          <a:solidFill>
            <a:schemeClr val="tx2">
              <a:lumMod val="60000"/>
              <a:lumOff val="4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cxnSp>
        <p:nvCxnSpPr>
          <p:cNvPr id="152" name="Gerade Verbindung 151"/>
          <p:cNvCxnSpPr>
            <a:stCxn id="63" idx="1"/>
            <a:endCxn id="54" idx="1"/>
          </p:cNvCxnSpPr>
          <p:nvPr/>
        </p:nvCxnSpPr>
        <p:spPr>
          <a:xfrm>
            <a:off x="468313" y="1394744"/>
            <a:ext cx="1" cy="4014253"/>
          </a:xfrm>
          <a:prstGeom prst="line">
            <a:avLst/>
          </a:prstGeom>
          <a:ln w="6350">
            <a:solidFill>
              <a:schemeClr val="bg1">
                <a:lumMod val="65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Text Box 3"/>
          <p:cNvSpPr txBox="1">
            <a:spLocks noChangeArrowheads="1"/>
          </p:cNvSpPr>
          <p:nvPr/>
        </p:nvSpPr>
        <p:spPr bwMode="auto">
          <a:xfrm>
            <a:off x="2045106" y="3461255"/>
            <a:ext cx="1374886" cy="859851"/>
          </a:xfrm>
          <a:prstGeom prst="rect">
            <a:avLst/>
          </a:prstGeom>
          <a:solidFill>
            <a:srgbClr val="FFFFFF"/>
          </a:solidFill>
          <a:ln w="9525">
            <a:noFill/>
            <a:miter lim="800000"/>
            <a:headEnd/>
            <a:tailEnd/>
          </a:ln>
        </p:spPr>
        <p:txBody>
          <a:bodyPr wrap="square">
            <a:spAutoFit/>
          </a:bodyPr>
          <a:lstStyle/>
          <a:p>
            <a:pPr algn="ctr" fontAlgn="base">
              <a:lnSpc>
                <a:spcPct val="95000"/>
              </a:lnSpc>
              <a:spcBef>
                <a:spcPct val="0"/>
              </a:spcBef>
              <a:spcAft>
                <a:spcPct val="0"/>
              </a:spcAft>
            </a:pPr>
            <a:r>
              <a:rPr lang="de-DE" sz="1050" dirty="0" smtClean="0">
                <a:solidFill>
                  <a:srgbClr val="000000"/>
                </a:solidFill>
              </a:rPr>
              <a:t>Kick-Off </a:t>
            </a:r>
            <a:br>
              <a:rPr lang="de-DE" sz="1050" dirty="0" smtClean="0">
                <a:solidFill>
                  <a:srgbClr val="000000"/>
                </a:solidFill>
              </a:rPr>
            </a:br>
            <a:r>
              <a:rPr lang="de-DE" sz="1050" b="1" dirty="0" err="1" smtClean="0">
                <a:solidFill>
                  <a:srgbClr val="000000"/>
                </a:solidFill>
              </a:rPr>
              <a:t>maturity</a:t>
            </a:r>
            <a:r>
              <a:rPr lang="de-DE" sz="1050" b="1" dirty="0" smtClean="0">
                <a:solidFill>
                  <a:srgbClr val="000000"/>
                </a:solidFill>
              </a:rPr>
              <a:t> </a:t>
            </a:r>
            <a:r>
              <a:rPr lang="de-DE" sz="1050" b="1" dirty="0" err="1" smtClean="0">
                <a:solidFill>
                  <a:srgbClr val="000000"/>
                </a:solidFill>
              </a:rPr>
              <a:t>step</a:t>
            </a:r>
            <a:r>
              <a:rPr lang="de-DE" sz="1050" b="1" dirty="0" smtClean="0">
                <a:solidFill>
                  <a:srgbClr val="000000"/>
                </a:solidFill>
              </a:rPr>
              <a:t>/</a:t>
            </a:r>
          </a:p>
          <a:p>
            <a:pPr algn="ctr" fontAlgn="base">
              <a:lnSpc>
                <a:spcPct val="95000"/>
              </a:lnSpc>
              <a:spcBef>
                <a:spcPct val="0"/>
              </a:spcBef>
              <a:spcAft>
                <a:spcPct val="0"/>
              </a:spcAft>
            </a:pPr>
            <a:r>
              <a:rPr lang="de-DE" sz="1050" dirty="0" smtClean="0">
                <a:solidFill>
                  <a:srgbClr val="000000"/>
                </a:solidFill>
              </a:rPr>
              <a:t>Preview</a:t>
            </a:r>
          </a:p>
          <a:p>
            <a:pPr algn="ctr" fontAlgn="base">
              <a:lnSpc>
                <a:spcPct val="95000"/>
              </a:lnSpc>
              <a:spcBef>
                <a:spcPct val="0"/>
              </a:spcBef>
              <a:spcAft>
                <a:spcPct val="0"/>
              </a:spcAft>
            </a:pPr>
            <a:r>
              <a:rPr lang="de-DE" sz="1050" b="1" dirty="0" err="1" smtClean="0">
                <a:solidFill>
                  <a:srgbClr val="000000"/>
                </a:solidFill>
              </a:rPr>
              <a:t>maturity</a:t>
            </a:r>
            <a:r>
              <a:rPr lang="de-DE" sz="1050" b="1" dirty="0" smtClean="0">
                <a:solidFill>
                  <a:srgbClr val="000000"/>
                </a:solidFill>
              </a:rPr>
              <a:t> </a:t>
            </a:r>
            <a:r>
              <a:rPr lang="de-DE" sz="1050" b="1" dirty="0" err="1" smtClean="0">
                <a:solidFill>
                  <a:srgbClr val="000000"/>
                </a:solidFill>
              </a:rPr>
              <a:t>level-target</a:t>
            </a:r>
            <a:r>
              <a:rPr lang="de-DE" sz="1050" b="1" dirty="0" smtClean="0">
                <a:solidFill>
                  <a:srgbClr val="000000"/>
                </a:solidFill>
              </a:rPr>
              <a:t> </a:t>
            </a:r>
            <a:r>
              <a:rPr lang="de-DE" sz="1050" b="1" dirty="0" err="1" smtClean="0">
                <a:solidFill>
                  <a:srgbClr val="000000"/>
                </a:solidFill>
              </a:rPr>
              <a:t>planning</a:t>
            </a:r>
            <a:endParaRPr lang="de-DE" sz="1050" dirty="0" smtClean="0">
              <a:solidFill>
                <a:srgbClr val="000000"/>
              </a:solidFill>
            </a:endParaRPr>
          </a:p>
        </p:txBody>
      </p:sp>
      <p:sp>
        <p:nvSpPr>
          <p:cNvPr id="39" name="AutoShape 15"/>
          <p:cNvSpPr>
            <a:spLocks noChangeArrowheads="1"/>
          </p:cNvSpPr>
          <p:nvPr/>
        </p:nvSpPr>
        <p:spPr bwMode="auto">
          <a:xfrm>
            <a:off x="2617748" y="3183606"/>
            <a:ext cx="224023" cy="209321"/>
          </a:xfrm>
          <a:prstGeom prst="flowChartDecision">
            <a:avLst/>
          </a:prstGeom>
          <a:solidFill>
            <a:schemeClr val="tx1">
              <a:lumMod val="75000"/>
              <a:lumOff val="25000"/>
            </a:schemeClr>
          </a:solidFill>
          <a:ln w="19050" algn="ctr">
            <a:solidFill>
              <a:srgbClr val="7DB3B3"/>
            </a:solidFill>
            <a:prstDash val="solid"/>
            <a:miter lim="800000"/>
            <a:headEnd/>
            <a:tailEnd/>
          </a:ln>
        </p:spPr>
        <p:txBody>
          <a:bodyPr wrap="none" anchor="ctr"/>
          <a:lstStyle/>
          <a:p>
            <a:pPr fontAlgn="base">
              <a:lnSpc>
                <a:spcPct val="95000"/>
              </a:lnSpc>
              <a:spcBef>
                <a:spcPct val="0"/>
              </a:spcBef>
              <a:spcAft>
                <a:spcPct val="0"/>
              </a:spcAft>
            </a:pPr>
            <a:endParaRPr lang="de-DE" dirty="0">
              <a:solidFill>
                <a:srgbClr val="000000"/>
              </a:solidFill>
            </a:endParaRPr>
          </a:p>
        </p:txBody>
      </p:sp>
      <p:sp>
        <p:nvSpPr>
          <p:cNvPr id="113" name="AutoShape 15"/>
          <p:cNvSpPr>
            <a:spLocks noChangeArrowheads="1"/>
          </p:cNvSpPr>
          <p:nvPr/>
        </p:nvSpPr>
        <p:spPr bwMode="auto">
          <a:xfrm>
            <a:off x="8567572" y="3183606"/>
            <a:ext cx="224023" cy="209321"/>
          </a:xfrm>
          <a:prstGeom prst="flowChartDecision">
            <a:avLst/>
          </a:prstGeom>
          <a:solidFill>
            <a:schemeClr val="tx1">
              <a:lumMod val="75000"/>
              <a:lumOff val="25000"/>
            </a:schemeClr>
          </a:solidFill>
          <a:ln w="19050" algn="ctr">
            <a:solidFill>
              <a:srgbClr val="7DB3B3"/>
            </a:solidFill>
            <a:prstDash val="solid"/>
            <a:miter lim="800000"/>
            <a:headEnd/>
            <a:tailEnd/>
          </a:ln>
        </p:spPr>
        <p:txBody>
          <a:bodyPr wrap="none" anchor="ctr"/>
          <a:lstStyle/>
          <a:p>
            <a:pPr fontAlgn="base">
              <a:lnSpc>
                <a:spcPct val="95000"/>
              </a:lnSpc>
              <a:spcBef>
                <a:spcPct val="0"/>
              </a:spcBef>
              <a:spcAft>
                <a:spcPct val="0"/>
              </a:spcAft>
            </a:pPr>
            <a:endParaRPr lang="de-DE" dirty="0">
              <a:solidFill>
                <a:srgbClr val="000000"/>
              </a:solidFill>
            </a:endParaRPr>
          </a:p>
        </p:txBody>
      </p:sp>
      <p:sp>
        <p:nvSpPr>
          <p:cNvPr id="144" name="Text Box 3"/>
          <p:cNvSpPr txBox="1">
            <a:spLocks noChangeArrowheads="1"/>
          </p:cNvSpPr>
          <p:nvPr/>
        </p:nvSpPr>
        <p:spPr bwMode="auto">
          <a:xfrm>
            <a:off x="3500507" y="3461253"/>
            <a:ext cx="1620798" cy="706347"/>
          </a:xfrm>
          <a:prstGeom prst="rect">
            <a:avLst/>
          </a:prstGeom>
          <a:noFill/>
          <a:ln w="9525">
            <a:noFill/>
            <a:miter lim="800000"/>
            <a:headEnd/>
            <a:tailEnd/>
          </a:ln>
        </p:spPr>
        <p:txBody>
          <a:bodyPr wrap="square">
            <a:spAutoFit/>
          </a:bodyPr>
          <a:lstStyle/>
          <a:p>
            <a:pPr algn="ctr" fontAlgn="base">
              <a:lnSpc>
                <a:spcPct val="95000"/>
              </a:lnSpc>
              <a:spcBef>
                <a:spcPct val="0"/>
              </a:spcBef>
              <a:spcAft>
                <a:spcPct val="0"/>
              </a:spcAft>
            </a:pPr>
            <a:r>
              <a:rPr lang="de-DE" sz="1050" smtClean="0">
                <a:solidFill>
                  <a:prstClr val="black"/>
                </a:solidFill>
              </a:rPr>
              <a:t>Review of </a:t>
            </a:r>
            <a:r>
              <a:rPr lang="de-DE" sz="1050" b="1" smtClean="0">
                <a:solidFill>
                  <a:prstClr val="black"/>
                </a:solidFill>
              </a:rPr>
              <a:t>maturity agreement</a:t>
            </a:r>
            <a:r>
              <a:rPr lang="de-DE" sz="1050" b="1" smtClean="0">
                <a:solidFill>
                  <a:srgbClr val="000000"/>
                </a:solidFill>
              </a:rPr>
              <a:t>/ Detailed continous testing planning</a:t>
            </a:r>
            <a:endParaRPr lang="de-DE" sz="1050" b="1" dirty="0" smtClean="0">
              <a:solidFill>
                <a:srgbClr val="000000"/>
              </a:solidFill>
            </a:endParaRPr>
          </a:p>
        </p:txBody>
      </p:sp>
      <p:sp>
        <p:nvSpPr>
          <p:cNvPr id="193" name="AutoShape 15"/>
          <p:cNvSpPr>
            <a:spLocks noChangeArrowheads="1"/>
          </p:cNvSpPr>
          <p:nvPr/>
        </p:nvSpPr>
        <p:spPr bwMode="auto">
          <a:xfrm>
            <a:off x="6588225" y="3183607"/>
            <a:ext cx="224023" cy="209321"/>
          </a:xfrm>
          <a:prstGeom prst="flowChartDecision">
            <a:avLst/>
          </a:prstGeom>
          <a:solidFill>
            <a:schemeClr val="tx1">
              <a:lumMod val="75000"/>
              <a:lumOff val="25000"/>
            </a:schemeClr>
          </a:solidFill>
          <a:ln w="19050" algn="ctr">
            <a:solidFill>
              <a:srgbClr val="7DB3B3"/>
            </a:solidFill>
            <a:prstDash val="solid"/>
            <a:miter lim="800000"/>
            <a:headEnd/>
            <a:tailEnd/>
          </a:ln>
        </p:spPr>
        <p:txBody>
          <a:bodyPr wrap="none" anchor="ctr"/>
          <a:lstStyle/>
          <a:p>
            <a:pPr fontAlgn="base">
              <a:lnSpc>
                <a:spcPct val="95000"/>
              </a:lnSpc>
              <a:spcBef>
                <a:spcPct val="0"/>
              </a:spcBef>
              <a:spcAft>
                <a:spcPct val="0"/>
              </a:spcAft>
            </a:pPr>
            <a:endParaRPr lang="de-DE" dirty="0">
              <a:solidFill>
                <a:srgbClr val="000000"/>
              </a:solidFill>
            </a:endParaRPr>
          </a:p>
        </p:txBody>
      </p:sp>
      <p:sp>
        <p:nvSpPr>
          <p:cNvPr id="194" name="Text Box 3"/>
          <p:cNvSpPr txBox="1">
            <a:spLocks noChangeArrowheads="1"/>
          </p:cNvSpPr>
          <p:nvPr/>
        </p:nvSpPr>
        <p:spPr bwMode="auto">
          <a:xfrm>
            <a:off x="6012160" y="3461253"/>
            <a:ext cx="1374886" cy="552844"/>
          </a:xfrm>
          <a:prstGeom prst="rect">
            <a:avLst/>
          </a:prstGeom>
          <a:noFill/>
          <a:ln w="9525">
            <a:noFill/>
            <a:miter lim="800000"/>
            <a:headEnd/>
            <a:tailEnd/>
          </a:ln>
        </p:spPr>
        <p:txBody>
          <a:bodyPr wrap="square">
            <a:spAutoFit/>
          </a:bodyPr>
          <a:lstStyle/>
          <a:p>
            <a:pPr algn="ctr" fontAlgn="base">
              <a:lnSpc>
                <a:spcPct val="95000"/>
              </a:lnSpc>
              <a:spcBef>
                <a:spcPct val="0"/>
              </a:spcBef>
              <a:spcAft>
                <a:spcPct val="0"/>
              </a:spcAft>
            </a:pPr>
            <a:r>
              <a:rPr lang="de-DE" sz="1050" smtClean="0">
                <a:solidFill>
                  <a:srgbClr val="000000"/>
                </a:solidFill>
              </a:rPr>
              <a:t>Construction of</a:t>
            </a:r>
          </a:p>
          <a:p>
            <a:pPr algn="ctr" fontAlgn="base">
              <a:lnSpc>
                <a:spcPct val="95000"/>
              </a:lnSpc>
              <a:spcBef>
                <a:spcPct val="0"/>
              </a:spcBef>
              <a:spcAft>
                <a:spcPct val="0"/>
              </a:spcAft>
            </a:pPr>
            <a:r>
              <a:rPr lang="de-DE" sz="1050" b="1" smtClean="0">
                <a:solidFill>
                  <a:srgbClr val="000000"/>
                </a:solidFill>
              </a:rPr>
              <a:t>testing </a:t>
            </a:r>
            <a:br>
              <a:rPr lang="de-DE" sz="1050" b="1" smtClean="0">
                <a:solidFill>
                  <a:srgbClr val="000000"/>
                </a:solidFill>
              </a:rPr>
            </a:br>
            <a:r>
              <a:rPr lang="de-DE" sz="1050" b="1" smtClean="0">
                <a:solidFill>
                  <a:srgbClr val="000000"/>
                </a:solidFill>
              </a:rPr>
              <a:t>vehicles</a:t>
            </a:r>
          </a:p>
        </p:txBody>
      </p:sp>
      <p:sp>
        <p:nvSpPr>
          <p:cNvPr id="60" name="Text Box 3"/>
          <p:cNvSpPr txBox="1">
            <a:spLocks noChangeArrowheads="1"/>
          </p:cNvSpPr>
          <p:nvPr/>
        </p:nvSpPr>
        <p:spPr bwMode="auto">
          <a:xfrm>
            <a:off x="5148065" y="3461254"/>
            <a:ext cx="1008111" cy="1013354"/>
          </a:xfrm>
          <a:prstGeom prst="rect">
            <a:avLst/>
          </a:prstGeom>
          <a:solidFill>
            <a:srgbClr val="FFFFFF"/>
          </a:solidFill>
          <a:ln w="9525">
            <a:noFill/>
            <a:miter lim="800000"/>
            <a:headEnd/>
            <a:tailEnd/>
          </a:ln>
        </p:spPr>
        <p:txBody>
          <a:bodyPr wrap="square">
            <a:spAutoFit/>
          </a:bodyPr>
          <a:lstStyle/>
          <a:p>
            <a:pPr algn="ctr" fontAlgn="base">
              <a:lnSpc>
                <a:spcPct val="95000"/>
              </a:lnSpc>
              <a:spcBef>
                <a:spcPct val="0"/>
              </a:spcBef>
              <a:spcAft>
                <a:spcPct val="0"/>
              </a:spcAft>
            </a:pPr>
            <a:r>
              <a:rPr lang="de-DE" sz="1050" smtClean="0">
                <a:solidFill>
                  <a:srgbClr val="000000"/>
                </a:solidFill>
              </a:rPr>
              <a:t>Completion of </a:t>
            </a:r>
            <a:r>
              <a:rPr lang="de-DE" sz="1050" b="1" smtClean="0">
                <a:solidFill>
                  <a:srgbClr val="000000"/>
                </a:solidFill>
              </a:rPr>
              <a:t>maturity level planning </a:t>
            </a:r>
            <a:r>
              <a:rPr lang="de-DE" sz="1050" smtClean="0">
                <a:solidFill>
                  <a:srgbClr val="000000"/>
                </a:solidFill>
              </a:rPr>
              <a:t>incl. forecast of target achievement</a:t>
            </a:r>
            <a:endParaRPr lang="de-DE" sz="1050" dirty="0" smtClean="0">
              <a:solidFill>
                <a:srgbClr val="000000"/>
              </a:solidFill>
            </a:endParaRPr>
          </a:p>
        </p:txBody>
      </p:sp>
      <p:sp>
        <p:nvSpPr>
          <p:cNvPr id="61" name="AutoShape 15"/>
          <p:cNvSpPr>
            <a:spLocks noChangeArrowheads="1"/>
          </p:cNvSpPr>
          <p:nvPr/>
        </p:nvSpPr>
        <p:spPr bwMode="auto">
          <a:xfrm>
            <a:off x="5550144" y="3183606"/>
            <a:ext cx="224023" cy="209321"/>
          </a:xfrm>
          <a:prstGeom prst="flowChartDecision">
            <a:avLst/>
          </a:prstGeom>
          <a:solidFill>
            <a:schemeClr val="tx1">
              <a:lumMod val="75000"/>
              <a:lumOff val="25000"/>
            </a:schemeClr>
          </a:solidFill>
          <a:ln w="19050" algn="ctr">
            <a:solidFill>
              <a:srgbClr val="7DB3B3"/>
            </a:solidFill>
            <a:prstDash val="solid"/>
            <a:miter lim="800000"/>
            <a:headEnd/>
            <a:tailEnd/>
          </a:ln>
        </p:spPr>
        <p:txBody>
          <a:bodyPr wrap="none" anchor="ctr"/>
          <a:lstStyle/>
          <a:p>
            <a:pPr fontAlgn="base">
              <a:lnSpc>
                <a:spcPct val="95000"/>
              </a:lnSpc>
              <a:spcBef>
                <a:spcPct val="0"/>
              </a:spcBef>
              <a:spcAft>
                <a:spcPct val="0"/>
              </a:spcAft>
            </a:pPr>
            <a:endParaRPr lang="de-DE" dirty="0">
              <a:solidFill>
                <a:srgbClr val="000000"/>
              </a:solidFill>
            </a:endParaRPr>
          </a:p>
        </p:txBody>
      </p:sp>
      <p:sp>
        <p:nvSpPr>
          <p:cNvPr id="63" name="Richtungspfeil 62"/>
          <p:cNvSpPr/>
          <p:nvPr/>
        </p:nvSpPr>
        <p:spPr bwMode="auto">
          <a:xfrm>
            <a:off x="468313" y="1124744"/>
            <a:ext cx="5111799" cy="540000"/>
          </a:xfrm>
          <a:prstGeom prst="homePlate">
            <a:avLst>
              <a:gd name="adj" fmla="val 20584"/>
            </a:avLst>
          </a:prstGeom>
          <a:solidFill>
            <a:schemeClr val="bg2"/>
          </a:solidFill>
          <a:ln w="12700" cap="flat" cmpd="sng" algn="ctr">
            <a:solidFill>
              <a:schemeClr val="bg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fontAlgn="base">
              <a:lnSpc>
                <a:spcPct val="95000"/>
              </a:lnSpc>
              <a:spcBef>
                <a:spcPct val="0"/>
              </a:spcBef>
              <a:spcAft>
                <a:spcPct val="0"/>
              </a:spcAft>
            </a:pPr>
            <a:r>
              <a:rPr lang="de-DE" sz="1000" b="1" smtClean="0">
                <a:solidFill>
                  <a:schemeClr val="bg1"/>
                </a:solidFill>
              </a:rPr>
              <a:t>Implementation of continous testing and maturity level planning</a:t>
            </a:r>
            <a:endParaRPr lang="de-DE" sz="1000" b="1" dirty="0" smtClean="0">
              <a:solidFill>
                <a:schemeClr val="bg1"/>
              </a:solidFill>
            </a:endParaRPr>
          </a:p>
        </p:txBody>
      </p:sp>
      <p:sp>
        <p:nvSpPr>
          <p:cNvPr id="69" name="Eingekerbter Richtungspfeil 68"/>
          <p:cNvSpPr/>
          <p:nvPr/>
        </p:nvSpPr>
        <p:spPr>
          <a:xfrm>
            <a:off x="5544108" y="1124744"/>
            <a:ext cx="3133167" cy="540000"/>
          </a:xfrm>
          <a:prstGeom prst="chevron">
            <a:avLst>
              <a:gd name="adj" fmla="val 20000"/>
            </a:avLst>
          </a:prstGeom>
          <a:solidFill>
            <a:schemeClr val="bg2"/>
          </a:solidFill>
          <a:ln w="12700" cap="flat" cmpd="sng" algn="ctr">
            <a:solidFill>
              <a:schemeClr val="bg2">
                <a:lumMod val="60000"/>
                <a:lumOff val="4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fontAlgn="base">
              <a:lnSpc>
                <a:spcPct val="95000"/>
              </a:lnSpc>
              <a:spcBef>
                <a:spcPct val="0"/>
              </a:spcBef>
              <a:spcAft>
                <a:spcPct val="0"/>
              </a:spcAft>
            </a:pPr>
            <a:r>
              <a:rPr lang="de-DE" sz="1000" b="1" smtClean="0">
                <a:solidFill>
                  <a:schemeClr val="bg1"/>
                </a:solidFill>
              </a:rPr>
              <a:t>Managing and reporting of maturity level</a:t>
            </a:r>
            <a:endParaRPr lang="de-DE" sz="1000" b="1" dirty="0" smtClean="0">
              <a:solidFill>
                <a:schemeClr val="bg1"/>
              </a:solidFill>
            </a:endParaRPr>
          </a:p>
        </p:txBody>
      </p:sp>
      <p:sp>
        <p:nvSpPr>
          <p:cNvPr id="151" name="Text Box 3"/>
          <p:cNvSpPr txBox="1">
            <a:spLocks noChangeArrowheads="1"/>
          </p:cNvSpPr>
          <p:nvPr/>
        </p:nvSpPr>
        <p:spPr bwMode="auto">
          <a:xfrm>
            <a:off x="8208404" y="3463360"/>
            <a:ext cx="936000" cy="552844"/>
          </a:xfrm>
          <a:prstGeom prst="rect">
            <a:avLst/>
          </a:prstGeom>
          <a:noFill/>
          <a:ln w="9525">
            <a:noFill/>
            <a:miter lim="800000"/>
            <a:headEnd/>
            <a:tailEnd/>
          </a:ln>
        </p:spPr>
        <p:txBody>
          <a:bodyPr wrap="square">
            <a:spAutoFit/>
          </a:bodyPr>
          <a:lstStyle/>
          <a:p>
            <a:pPr algn="ctr" fontAlgn="base">
              <a:lnSpc>
                <a:spcPct val="95000"/>
              </a:lnSpc>
              <a:spcBef>
                <a:spcPct val="0"/>
              </a:spcBef>
              <a:spcAft>
                <a:spcPct val="0"/>
              </a:spcAft>
            </a:pPr>
            <a:r>
              <a:rPr lang="de-DE" sz="1050" dirty="0" err="1" smtClean="0">
                <a:solidFill>
                  <a:prstClr val="black"/>
                </a:solidFill>
              </a:rPr>
              <a:t>Maturity</a:t>
            </a:r>
            <a:r>
              <a:rPr lang="de-DE" sz="1050" dirty="0" smtClean="0">
                <a:solidFill>
                  <a:prstClr val="black"/>
                </a:solidFill>
              </a:rPr>
              <a:t> </a:t>
            </a:r>
            <a:r>
              <a:rPr lang="de-DE" sz="1050" dirty="0" err="1" smtClean="0">
                <a:solidFill>
                  <a:prstClr val="black"/>
                </a:solidFill>
              </a:rPr>
              <a:t>proof</a:t>
            </a:r>
            <a:r>
              <a:rPr lang="de-DE" sz="1050" dirty="0" smtClean="0">
                <a:solidFill>
                  <a:prstClr val="black"/>
                </a:solidFill>
              </a:rPr>
              <a:t> </a:t>
            </a:r>
            <a:r>
              <a:rPr lang="de-DE" sz="1050" dirty="0" err="1" smtClean="0">
                <a:solidFill>
                  <a:prstClr val="black"/>
                </a:solidFill>
              </a:rPr>
              <a:t>Approval</a:t>
            </a:r>
            <a:r>
              <a:rPr lang="de-DE" sz="1050" dirty="0" smtClean="0">
                <a:solidFill>
                  <a:prstClr val="black"/>
                </a:solidFill>
              </a:rPr>
              <a:t> </a:t>
            </a:r>
            <a:r>
              <a:rPr lang="de-DE" sz="1050" dirty="0" err="1" smtClean="0">
                <a:solidFill>
                  <a:prstClr val="black"/>
                </a:solidFill>
              </a:rPr>
              <a:t>of</a:t>
            </a:r>
            <a:r>
              <a:rPr lang="de-DE" sz="1050" dirty="0" smtClean="0">
                <a:solidFill>
                  <a:prstClr val="black"/>
                </a:solidFill>
              </a:rPr>
              <a:t> </a:t>
            </a:r>
            <a:r>
              <a:rPr lang="de-DE" sz="1050" b="1" dirty="0" err="1" smtClean="0">
                <a:solidFill>
                  <a:prstClr val="black"/>
                </a:solidFill>
              </a:rPr>
              <a:t>maturity</a:t>
            </a:r>
            <a:r>
              <a:rPr lang="de-DE" sz="1050" b="1" dirty="0" smtClean="0">
                <a:solidFill>
                  <a:prstClr val="black"/>
                </a:solidFill>
              </a:rPr>
              <a:t> </a:t>
            </a:r>
            <a:r>
              <a:rPr lang="de-DE" sz="1050" b="1" dirty="0" err="1" smtClean="0">
                <a:solidFill>
                  <a:prstClr val="black"/>
                </a:solidFill>
              </a:rPr>
              <a:t>step</a:t>
            </a:r>
            <a:endParaRPr lang="de-DE" sz="1050" b="1" dirty="0" smtClean="0">
              <a:solidFill>
                <a:srgbClr val="000000"/>
              </a:solidFill>
            </a:endParaRPr>
          </a:p>
        </p:txBody>
      </p:sp>
      <p:sp>
        <p:nvSpPr>
          <p:cNvPr id="66" name="Gleichschenkliges Dreieck 65"/>
          <p:cNvSpPr/>
          <p:nvPr/>
        </p:nvSpPr>
        <p:spPr>
          <a:xfrm>
            <a:off x="7331075" y="422275"/>
            <a:ext cx="812800" cy="558800"/>
          </a:xfrm>
          <a:prstGeom prst="triangle">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68" name="Gleichschenkliges Dreieck 67"/>
          <p:cNvSpPr/>
          <p:nvPr/>
        </p:nvSpPr>
        <p:spPr>
          <a:xfrm>
            <a:off x="7572480" y="441783"/>
            <a:ext cx="324000" cy="216024"/>
          </a:xfrm>
          <a:prstGeom prst="triangl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spcBef>
                <a:spcPts val="600"/>
              </a:spcBef>
            </a:pPr>
            <a:r>
              <a:rPr lang="de-DE" sz="1200" dirty="0" smtClean="0">
                <a:solidFill>
                  <a:prstClr val="white"/>
                </a:solidFill>
              </a:rPr>
              <a:t>A</a:t>
            </a:r>
          </a:p>
        </p:txBody>
      </p:sp>
      <p:sp>
        <p:nvSpPr>
          <p:cNvPr id="67" name="Eingekerbter Richtungspfeil 66"/>
          <p:cNvSpPr/>
          <p:nvPr/>
        </p:nvSpPr>
        <p:spPr>
          <a:xfrm>
            <a:off x="468818" y="2579135"/>
            <a:ext cx="8208457" cy="208876"/>
          </a:xfrm>
          <a:prstGeom prst="chevron">
            <a:avLst>
              <a:gd name="adj" fmla="val 29756"/>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smtClean="0">
                <a:solidFill>
                  <a:prstClr val="black"/>
                </a:solidFill>
              </a:rPr>
              <a:t>Managing deviations</a:t>
            </a:r>
            <a:endParaRPr lang="de-DE" sz="800" dirty="0">
              <a:solidFill>
                <a:prstClr val="black"/>
              </a:solidFill>
            </a:endParaRPr>
          </a:p>
        </p:txBody>
      </p:sp>
      <p:sp>
        <p:nvSpPr>
          <p:cNvPr id="80" name="Eingekerbter Richtungspfeil 79"/>
          <p:cNvSpPr/>
          <p:nvPr/>
        </p:nvSpPr>
        <p:spPr>
          <a:xfrm>
            <a:off x="468314" y="1708330"/>
            <a:ext cx="1007343" cy="828000"/>
          </a:xfrm>
          <a:prstGeom prst="chevron">
            <a:avLst>
              <a:gd name="adj" fmla="val 20455"/>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dirty="0" smtClean="0">
                <a:solidFill>
                  <a:prstClr val="black"/>
                </a:solidFill>
              </a:rPr>
              <a:t>Initial </a:t>
            </a:r>
          </a:p>
          <a:p>
            <a:pPr algn="ctr"/>
            <a:r>
              <a:rPr lang="de-DE" sz="800" dirty="0" err="1" smtClean="0">
                <a:solidFill>
                  <a:prstClr val="black"/>
                </a:solidFill>
              </a:rPr>
              <a:t>maturity</a:t>
            </a:r>
            <a:r>
              <a:rPr lang="de-DE" sz="800" dirty="0" smtClean="0">
                <a:solidFill>
                  <a:prstClr val="black"/>
                </a:solidFill>
              </a:rPr>
              <a:t> </a:t>
            </a:r>
            <a:r>
              <a:rPr lang="de-DE" sz="800" dirty="0" err="1" smtClean="0">
                <a:solidFill>
                  <a:prstClr val="black"/>
                </a:solidFill>
              </a:rPr>
              <a:t>step</a:t>
            </a:r>
            <a:r>
              <a:rPr lang="de-DE" sz="800" dirty="0" smtClean="0">
                <a:solidFill>
                  <a:prstClr val="black"/>
                </a:solidFill>
              </a:rPr>
              <a:t> </a:t>
            </a:r>
            <a:r>
              <a:rPr lang="de-DE" sz="800" dirty="0" err="1" smtClean="0">
                <a:solidFill>
                  <a:prstClr val="black"/>
                </a:solidFill>
              </a:rPr>
              <a:t>planning</a:t>
            </a:r>
            <a:endParaRPr lang="de-DE" sz="800" dirty="0">
              <a:solidFill>
                <a:prstClr val="black"/>
              </a:solidFill>
            </a:endParaRPr>
          </a:p>
        </p:txBody>
      </p:sp>
      <p:sp>
        <p:nvSpPr>
          <p:cNvPr id="81" name="Textfeld 80"/>
          <p:cNvSpPr txBox="1"/>
          <p:nvPr/>
        </p:nvSpPr>
        <p:spPr>
          <a:xfrm>
            <a:off x="439739" y="1684526"/>
            <a:ext cx="684000" cy="276999"/>
          </a:xfrm>
          <a:prstGeom prst="rect">
            <a:avLst/>
          </a:prstGeom>
          <a:noFill/>
        </p:spPr>
        <p:txBody>
          <a:bodyPr wrap="square" rtlCol="0">
            <a:spAutoFit/>
          </a:bodyPr>
          <a:lstStyle/>
          <a:p>
            <a:r>
              <a:rPr lang="de-DE" sz="600" dirty="0" smtClean="0"/>
              <a:t>ItO 02.02.01.05</a:t>
            </a:r>
            <a:endParaRPr lang="de-DE" sz="600" dirty="0"/>
          </a:p>
        </p:txBody>
      </p:sp>
      <p:sp>
        <p:nvSpPr>
          <p:cNvPr id="83" name="Eingekerbter Richtungspfeil 82"/>
          <p:cNvSpPr/>
          <p:nvPr/>
        </p:nvSpPr>
        <p:spPr>
          <a:xfrm>
            <a:off x="2650667" y="1711284"/>
            <a:ext cx="2995097" cy="828000"/>
          </a:xfrm>
          <a:prstGeom prst="chevron">
            <a:avLst>
              <a:gd name="adj" fmla="val 2045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800" dirty="0" smtClean="0">
              <a:solidFill>
                <a:schemeClr val="tx1"/>
              </a:solidFill>
            </a:endParaRPr>
          </a:p>
          <a:p>
            <a:pPr algn="ctr"/>
            <a:endParaRPr lang="de-DE" sz="800" dirty="0" smtClean="0">
              <a:solidFill>
                <a:schemeClr val="tx1"/>
              </a:solidFill>
            </a:endParaRPr>
          </a:p>
        </p:txBody>
      </p:sp>
      <p:sp>
        <p:nvSpPr>
          <p:cNvPr id="84" name="Gebogener Pfeil 83"/>
          <p:cNvSpPr/>
          <p:nvPr/>
        </p:nvSpPr>
        <p:spPr>
          <a:xfrm flipH="1">
            <a:off x="4014031" y="1790046"/>
            <a:ext cx="648072" cy="720080"/>
          </a:xfrm>
          <a:prstGeom prst="circularArrow">
            <a:avLst>
              <a:gd name="adj1" fmla="val 14110"/>
              <a:gd name="adj2" fmla="val 1519986"/>
              <a:gd name="adj3" fmla="val 18510041"/>
              <a:gd name="adj4" fmla="val 427878"/>
              <a:gd name="adj5" fmla="val 15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85" name="Textfeld 84"/>
          <p:cNvSpPr txBox="1"/>
          <p:nvPr/>
        </p:nvSpPr>
        <p:spPr>
          <a:xfrm>
            <a:off x="3648615" y="1739260"/>
            <a:ext cx="1093569" cy="338554"/>
          </a:xfrm>
          <a:prstGeom prst="rect">
            <a:avLst/>
          </a:prstGeom>
          <a:noFill/>
        </p:spPr>
        <p:txBody>
          <a:bodyPr wrap="square" rtlCol="0">
            <a:spAutoFit/>
          </a:bodyPr>
          <a:lstStyle/>
          <a:p>
            <a:pPr algn="ctr"/>
            <a:r>
              <a:rPr lang="de-DE" sz="800" smtClean="0">
                <a:solidFill>
                  <a:prstClr val="black"/>
                </a:solidFill>
              </a:rPr>
              <a:t>Verification of maturity level-target planning</a:t>
            </a:r>
            <a:endParaRPr lang="de-DE" sz="800" dirty="0">
              <a:solidFill>
                <a:prstClr val="black"/>
              </a:solidFill>
            </a:endParaRPr>
          </a:p>
        </p:txBody>
      </p:sp>
      <p:cxnSp>
        <p:nvCxnSpPr>
          <p:cNvPr id="86" name="Gerade Verbindung 85"/>
          <p:cNvCxnSpPr/>
          <p:nvPr/>
        </p:nvCxnSpPr>
        <p:spPr>
          <a:xfrm>
            <a:off x="2820127" y="2120841"/>
            <a:ext cx="28224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7" name="Textfeld 86"/>
          <p:cNvSpPr txBox="1"/>
          <p:nvPr/>
        </p:nvSpPr>
        <p:spPr>
          <a:xfrm>
            <a:off x="3390785" y="2171572"/>
            <a:ext cx="1537601" cy="215444"/>
          </a:xfrm>
          <a:prstGeom prst="rect">
            <a:avLst/>
          </a:prstGeom>
          <a:noFill/>
        </p:spPr>
        <p:txBody>
          <a:bodyPr wrap="none" rtlCol="0">
            <a:spAutoFit/>
          </a:bodyPr>
          <a:lstStyle/>
          <a:p>
            <a:pPr algn="ctr"/>
            <a:r>
              <a:rPr lang="de-DE" sz="800" smtClean="0">
                <a:solidFill>
                  <a:prstClr val="black"/>
                </a:solidFill>
              </a:rPr>
              <a:t>Detailed continous testing planning</a:t>
            </a:r>
            <a:endParaRPr lang="de-DE" sz="800" dirty="0">
              <a:solidFill>
                <a:prstClr val="black"/>
              </a:solidFill>
            </a:endParaRPr>
          </a:p>
        </p:txBody>
      </p:sp>
      <p:sp>
        <p:nvSpPr>
          <p:cNvPr id="88" name="Textfeld 87"/>
          <p:cNvSpPr txBox="1"/>
          <p:nvPr/>
        </p:nvSpPr>
        <p:spPr>
          <a:xfrm>
            <a:off x="2611358" y="1679036"/>
            <a:ext cx="684000" cy="276999"/>
          </a:xfrm>
          <a:prstGeom prst="rect">
            <a:avLst/>
          </a:prstGeom>
          <a:noFill/>
        </p:spPr>
        <p:txBody>
          <a:bodyPr wrap="square" rtlCol="0">
            <a:spAutoFit/>
          </a:bodyPr>
          <a:lstStyle/>
          <a:p>
            <a:r>
              <a:rPr lang="de-DE" sz="600" dirty="0" smtClean="0"/>
              <a:t>ItO 02.02.01 .08 </a:t>
            </a:r>
            <a:endParaRPr lang="de-DE" sz="600" dirty="0"/>
          </a:p>
        </p:txBody>
      </p:sp>
      <p:sp>
        <p:nvSpPr>
          <p:cNvPr id="91" name="Textfeld 90"/>
          <p:cNvSpPr txBox="1"/>
          <p:nvPr/>
        </p:nvSpPr>
        <p:spPr>
          <a:xfrm>
            <a:off x="2740069" y="2098384"/>
            <a:ext cx="684000" cy="276999"/>
          </a:xfrm>
          <a:prstGeom prst="rect">
            <a:avLst/>
          </a:prstGeom>
          <a:noFill/>
        </p:spPr>
        <p:txBody>
          <a:bodyPr wrap="square" rtlCol="0">
            <a:spAutoFit/>
          </a:bodyPr>
          <a:lstStyle/>
          <a:p>
            <a:r>
              <a:rPr lang="de-DE" sz="600" dirty="0"/>
              <a:t>ItO </a:t>
            </a:r>
            <a:r>
              <a:rPr lang="de-DE" sz="600" dirty="0" smtClean="0"/>
              <a:t>02.02.01.09</a:t>
            </a:r>
            <a:endParaRPr lang="de-DE" sz="600" dirty="0"/>
          </a:p>
        </p:txBody>
      </p:sp>
      <p:sp>
        <p:nvSpPr>
          <p:cNvPr id="92" name="Eingekerbter Richtungspfeil 91"/>
          <p:cNvSpPr/>
          <p:nvPr/>
        </p:nvSpPr>
        <p:spPr>
          <a:xfrm>
            <a:off x="1383278" y="1708330"/>
            <a:ext cx="1344912" cy="828000"/>
          </a:xfrm>
          <a:prstGeom prst="chevron">
            <a:avLst>
              <a:gd name="adj" fmla="val 20455"/>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800" dirty="0" smtClean="0">
              <a:solidFill>
                <a:schemeClr val="tx1"/>
              </a:solidFill>
            </a:endParaRPr>
          </a:p>
          <a:p>
            <a:pPr algn="ctr"/>
            <a:endParaRPr lang="de-DE" sz="800" dirty="0" smtClean="0">
              <a:solidFill>
                <a:schemeClr val="tx1"/>
              </a:solidFill>
            </a:endParaRPr>
          </a:p>
        </p:txBody>
      </p:sp>
      <p:sp>
        <p:nvSpPr>
          <p:cNvPr id="94" name="Gebogener Pfeil 93"/>
          <p:cNvSpPr/>
          <p:nvPr/>
        </p:nvSpPr>
        <p:spPr>
          <a:xfrm flipH="1">
            <a:off x="1815326" y="1790046"/>
            <a:ext cx="648072" cy="720080"/>
          </a:xfrm>
          <a:prstGeom prst="circularArrow">
            <a:avLst>
              <a:gd name="adj1" fmla="val 14110"/>
              <a:gd name="adj2" fmla="val 1519986"/>
              <a:gd name="adj3" fmla="val 18510041"/>
              <a:gd name="adj4" fmla="val 427878"/>
              <a:gd name="adj5" fmla="val 158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95" name="Textfeld 94"/>
          <p:cNvSpPr txBox="1"/>
          <p:nvPr/>
        </p:nvSpPr>
        <p:spPr>
          <a:xfrm>
            <a:off x="1518741" y="1790046"/>
            <a:ext cx="1093569" cy="338554"/>
          </a:xfrm>
          <a:prstGeom prst="rect">
            <a:avLst/>
          </a:prstGeom>
          <a:noFill/>
        </p:spPr>
        <p:txBody>
          <a:bodyPr wrap="square" rtlCol="0">
            <a:spAutoFit/>
          </a:bodyPr>
          <a:lstStyle/>
          <a:p>
            <a:pPr algn="ctr"/>
            <a:r>
              <a:rPr lang="de-DE" sz="800" smtClean="0">
                <a:solidFill>
                  <a:prstClr val="black"/>
                </a:solidFill>
              </a:rPr>
              <a:t>Maturity level-target planning</a:t>
            </a:r>
            <a:endParaRPr lang="de-DE" sz="800" dirty="0">
              <a:solidFill>
                <a:prstClr val="black"/>
              </a:solidFill>
            </a:endParaRPr>
          </a:p>
        </p:txBody>
      </p:sp>
      <p:sp>
        <p:nvSpPr>
          <p:cNvPr id="96" name="Textfeld 95"/>
          <p:cNvSpPr txBox="1"/>
          <p:nvPr/>
        </p:nvSpPr>
        <p:spPr>
          <a:xfrm>
            <a:off x="1632501" y="2171572"/>
            <a:ext cx="899605" cy="338554"/>
          </a:xfrm>
          <a:prstGeom prst="rect">
            <a:avLst/>
          </a:prstGeom>
          <a:noFill/>
        </p:spPr>
        <p:txBody>
          <a:bodyPr wrap="none" rtlCol="0">
            <a:spAutoFit/>
          </a:bodyPr>
          <a:lstStyle/>
          <a:p>
            <a:pPr algn="ctr"/>
            <a:r>
              <a:rPr lang="de-DE" sz="800" smtClean="0">
                <a:solidFill>
                  <a:prstClr val="black"/>
                </a:solidFill>
              </a:rPr>
              <a:t>Rough contionous </a:t>
            </a:r>
            <a:br>
              <a:rPr lang="de-DE" sz="800" smtClean="0">
                <a:solidFill>
                  <a:prstClr val="black"/>
                </a:solidFill>
              </a:rPr>
            </a:br>
            <a:r>
              <a:rPr lang="de-DE" sz="800" smtClean="0">
                <a:solidFill>
                  <a:prstClr val="black"/>
                </a:solidFill>
              </a:rPr>
              <a:t>testing planning</a:t>
            </a:r>
            <a:endParaRPr lang="de-DE" sz="800" dirty="0" smtClean="0">
              <a:solidFill>
                <a:prstClr val="black"/>
              </a:solidFill>
            </a:endParaRPr>
          </a:p>
        </p:txBody>
      </p:sp>
      <p:cxnSp>
        <p:nvCxnSpPr>
          <p:cNvPr id="97" name="Gerade Verbindung 96"/>
          <p:cNvCxnSpPr/>
          <p:nvPr/>
        </p:nvCxnSpPr>
        <p:spPr>
          <a:xfrm>
            <a:off x="1552461" y="2122330"/>
            <a:ext cx="117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Textfeld 97"/>
          <p:cNvSpPr txBox="1"/>
          <p:nvPr/>
        </p:nvSpPr>
        <p:spPr>
          <a:xfrm>
            <a:off x="1470496" y="2098384"/>
            <a:ext cx="684000" cy="276999"/>
          </a:xfrm>
          <a:prstGeom prst="rect">
            <a:avLst/>
          </a:prstGeom>
          <a:noFill/>
        </p:spPr>
        <p:txBody>
          <a:bodyPr wrap="square" rtlCol="0">
            <a:spAutoFit/>
          </a:bodyPr>
          <a:lstStyle/>
          <a:p>
            <a:r>
              <a:rPr lang="de-DE" sz="600" dirty="0" smtClean="0"/>
              <a:t>ItO 02.02.01.07 </a:t>
            </a:r>
            <a:endParaRPr lang="de-DE" sz="600" dirty="0"/>
          </a:p>
        </p:txBody>
      </p:sp>
      <p:sp>
        <p:nvSpPr>
          <p:cNvPr id="120" name="Eingekerbter Richtungspfeil 119"/>
          <p:cNvSpPr/>
          <p:nvPr/>
        </p:nvSpPr>
        <p:spPr>
          <a:xfrm>
            <a:off x="7164289" y="1711284"/>
            <a:ext cx="1512988" cy="828000"/>
          </a:xfrm>
          <a:prstGeom prst="chevron">
            <a:avLst>
              <a:gd name="adj" fmla="val 2045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dirty="0" err="1" smtClean="0">
                <a:solidFill>
                  <a:prstClr val="black"/>
                </a:solidFill>
              </a:rPr>
              <a:t>Acceptance</a:t>
            </a:r>
            <a:r>
              <a:rPr lang="de-DE" sz="800" dirty="0" smtClean="0">
                <a:solidFill>
                  <a:prstClr val="black"/>
                </a:solidFill>
              </a:rPr>
              <a:t> </a:t>
            </a:r>
            <a:r>
              <a:rPr lang="de-DE" sz="800" dirty="0" err="1" smtClean="0">
                <a:solidFill>
                  <a:prstClr val="black"/>
                </a:solidFill>
              </a:rPr>
              <a:t>report</a:t>
            </a:r>
            <a:r>
              <a:rPr lang="de-DE" sz="800" dirty="0" smtClean="0">
                <a:solidFill>
                  <a:prstClr val="black"/>
                </a:solidFill>
              </a:rPr>
              <a:t> </a:t>
            </a:r>
            <a:r>
              <a:rPr lang="de-DE" sz="800" dirty="0" err="1" smtClean="0">
                <a:solidFill>
                  <a:prstClr val="black"/>
                </a:solidFill>
              </a:rPr>
              <a:t>of</a:t>
            </a:r>
            <a:r>
              <a:rPr lang="de-DE" sz="800" dirty="0" smtClean="0">
                <a:solidFill>
                  <a:prstClr val="black"/>
                </a:solidFill>
              </a:rPr>
              <a:t> </a:t>
            </a:r>
          </a:p>
          <a:p>
            <a:pPr algn="ctr"/>
            <a:r>
              <a:rPr lang="de-DE" sz="800" dirty="0" err="1" smtClean="0">
                <a:solidFill>
                  <a:prstClr val="black"/>
                </a:solidFill>
              </a:rPr>
              <a:t>maturity</a:t>
            </a:r>
            <a:r>
              <a:rPr lang="de-DE" sz="800" dirty="0" smtClean="0">
                <a:solidFill>
                  <a:prstClr val="black"/>
                </a:solidFill>
              </a:rPr>
              <a:t> </a:t>
            </a:r>
            <a:r>
              <a:rPr lang="de-DE" sz="800" dirty="0" err="1" smtClean="0">
                <a:solidFill>
                  <a:prstClr val="black"/>
                </a:solidFill>
              </a:rPr>
              <a:t>step</a:t>
            </a:r>
            <a:endParaRPr lang="de-DE" sz="800" dirty="0">
              <a:solidFill>
                <a:prstClr val="black"/>
              </a:solidFill>
            </a:endParaRPr>
          </a:p>
        </p:txBody>
      </p:sp>
      <p:sp>
        <p:nvSpPr>
          <p:cNvPr id="121" name="Textfeld 120"/>
          <p:cNvSpPr txBox="1"/>
          <p:nvPr/>
        </p:nvSpPr>
        <p:spPr>
          <a:xfrm>
            <a:off x="7164288" y="1681194"/>
            <a:ext cx="684000" cy="276999"/>
          </a:xfrm>
          <a:prstGeom prst="rect">
            <a:avLst/>
          </a:prstGeom>
          <a:noFill/>
        </p:spPr>
        <p:txBody>
          <a:bodyPr wrap="square" rtlCol="0">
            <a:spAutoFit/>
          </a:bodyPr>
          <a:lstStyle/>
          <a:p>
            <a:r>
              <a:rPr lang="de-DE" sz="600" dirty="0" smtClean="0"/>
              <a:t>ItO 04.05.01.03  </a:t>
            </a:r>
            <a:endParaRPr lang="de-DE" sz="600" dirty="0"/>
          </a:p>
        </p:txBody>
      </p:sp>
      <p:sp>
        <p:nvSpPr>
          <p:cNvPr id="71" name="Textfeld 70"/>
          <p:cNvSpPr txBox="1"/>
          <p:nvPr/>
        </p:nvSpPr>
        <p:spPr>
          <a:xfrm>
            <a:off x="485710" y="2547222"/>
            <a:ext cx="684000" cy="276999"/>
          </a:xfrm>
          <a:prstGeom prst="rect">
            <a:avLst/>
          </a:prstGeom>
          <a:noFill/>
        </p:spPr>
        <p:txBody>
          <a:bodyPr wrap="square" rtlCol="0">
            <a:spAutoFit/>
          </a:bodyPr>
          <a:lstStyle/>
          <a:p>
            <a:r>
              <a:rPr lang="de-DE" sz="600" dirty="0" smtClean="0"/>
              <a:t>ItO 04.05.01.04</a:t>
            </a:r>
            <a:endParaRPr lang="de-DE" sz="600" dirty="0"/>
          </a:p>
        </p:txBody>
      </p:sp>
      <p:sp>
        <p:nvSpPr>
          <p:cNvPr id="76" name="Freihandform 75"/>
          <p:cNvSpPr/>
          <p:nvPr/>
        </p:nvSpPr>
        <p:spPr>
          <a:xfrm>
            <a:off x="5570860" y="2132856"/>
            <a:ext cx="1701440" cy="407938"/>
          </a:xfrm>
          <a:custGeom>
            <a:avLst/>
            <a:gdLst>
              <a:gd name="connsiteX0" fmla="*/ 0 w 752475"/>
              <a:gd name="connsiteY0" fmla="*/ 0 h 314325"/>
              <a:gd name="connsiteX1" fmla="*/ 752475 w 752475"/>
              <a:gd name="connsiteY1" fmla="*/ 0 h 314325"/>
              <a:gd name="connsiteX2" fmla="*/ 752475 w 752475"/>
              <a:gd name="connsiteY2" fmla="*/ 314325 h 314325"/>
              <a:gd name="connsiteX3" fmla="*/ 0 w 752475"/>
              <a:gd name="connsiteY3" fmla="*/ 314325 h 314325"/>
              <a:gd name="connsiteX4" fmla="*/ 0 w 752475"/>
              <a:gd name="connsiteY4" fmla="*/ 0 h 314325"/>
              <a:gd name="connsiteX0" fmla="*/ 171123 w 923598"/>
              <a:gd name="connsiteY0" fmla="*/ 0 h 314325"/>
              <a:gd name="connsiteX1" fmla="*/ 923598 w 923598"/>
              <a:gd name="connsiteY1" fmla="*/ 0 h 314325"/>
              <a:gd name="connsiteX2" fmla="*/ 923598 w 923598"/>
              <a:gd name="connsiteY2" fmla="*/ 314325 h 314325"/>
              <a:gd name="connsiteX3" fmla="*/ 0 w 923598"/>
              <a:gd name="connsiteY3" fmla="*/ 314325 h 314325"/>
              <a:gd name="connsiteX4" fmla="*/ 171123 w 923598"/>
              <a:gd name="connsiteY4" fmla="*/ 0 h 314325"/>
              <a:gd name="connsiteX0" fmla="*/ 171123 w 923598"/>
              <a:gd name="connsiteY0" fmla="*/ 0 h 314325"/>
              <a:gd name="connsiteX1" fmla="*/ 923598 w 923598"/>
              <a:gd name="connsiteY1" fmla="*/ 0 h 314325"/>
              <a:gd name="connsiteX2" fmla="*/ 703248 w 923598"/>
              <a:gd name="connsiteY2" fmla="*/ 307140 h 314325"/>
              <a:gd name="connsiteX3" fmla="*/ 0 w 923598"/>
              <a:gd name="connsiteY3" fmla="*/ 314325 h 314325"/>
              <a:gd name="connsiteX4" fmla="*/ 171123 w 923598"/>
              <a:gd name="connsiteY4" fmla="*/ 0 h 314325"/>
              <a:gd name="connsiteX0" fmla="*/ 171123 w 923598"/>
              <a:gd name="connsiteY0" fmla="*/ 0 h 314325"/>
              <a:gd name="connsiteX1" fmla="*/ 923598 w 923598"/>
              <a:gd name="connsiteY1" fmla="*/ 0 h 314325"/>
              <a:gd name="connsiteX2" fmla="*/ 761852 w 923598"/>
              <a:gd name="connsiteY2" fmla="*/ 312529 h 314325"/>
              <a:gd name="connsiteX3" fmla="*/ 0 w 923598"/>
              <a:gd name="connsiteY3" fmla="*/ 314325 h 314325"/>
              <a:gd name="connsiteX4" fmla="*/ 171123 w 923598"/>
              <a:gd name="connsiteY4" fmla="*/ 0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598" h="314325">
                <a:moveTo>
                  <a:pt x="171123" y="0"/>
                </a:moveTo>
                <a:lnTo>
                  <a:pt x="923598" y="0"/>
                </a:lnTo>
                <a:lnTo>
                  <a:pt x="761852" y="312529"/>
                </a:lnTo>
                <a:lnTo>
                  <a:pt x="0" y="314325"/>
                </a:lnTo>
                <a:lnTo>
                  <a:pt x="171123"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smtClean="0">
                <a:solidFill>
                  <a:prstClr val="black"/>
                </a:solidFill>
              </a:rPr>
              <a:t>Maturity proof</a:t>
            </a:r>
          </a:p>
          <a:p>
            <a:pPr algn="ctr"/>
            <a:r>
              <a:rPr lang="de-DE" sz="800" smtClean="0">
                <a:solidFill>
                  <a:prstClr val="black"/>
                </a:solidFill>
              </a:rPr>
              <a:t>of supplier</a:t>
            </a:r>
            <a:endParaRPr lang="de-DE" sz="800" dirty="0" smtClean="0">
              <a:solidFill>
                <a:prstClr val="black"/>
              </a:solidFill>
            </a:endParaRPr>
          </a:p>
        </p:txBody>
      </p:sp>
      <p:sp>
        <p:nvSpPr>
          <p:cNvPr id="77" name="Freihandform 76"/>
          <p:cNvSpPr/>
          <p:nvPr/>
        </p:nvSpPr>
        <p:spPr>
          <a:xfrm>
            <a:off x="5563716" y="1703388"/>
            <a:ext cx="1708584" cy="416719"/>
          </a:xfrm>
          <a:custGeom>
            <a:avLst/>
            <a:gdLst>
              <a:gd name="connsiteX0" fmla="*/ 0 w 752475"/>
              <a:gd name="connsiteY0" fmla="*/ 0 h 314325"/>
              <a:gd name="connsiteX1" fmla="*/ 752475 w 752475"/>
              <a:gd name="connsiteY1" fmla="*/ 0 h 314325"/>
              <a:gd name="connsiteX2" fmla="*/ 752475 w 752475"/>
              <a:gd name="connsiteY2" fmla="*/ 314325 h 314325"/>
              <a:gd name="connsiteX3" fmla="*/ 0 w 752475"/>
              <a:gd name="connsiteY3" fmla="*/ 314325 h 314325"/>
              <a:gd name="connsiteX4" fmla="*/ 0 w 752475"/>
              <a:gd name="connsiteY4" fmla="*/ 0 h 314325"/>
              <a:gd name="connsiteX0" fmla="*/ 171123 w 923598"/>
              <a:gd name="connsiteY0" fmla="*/ 0 h 314325"/>
              <a:gd name="connsiteX1" fmla="*/ 923598 w 923598"/>
              <a:gd name="connsiteY1" fmla="*/ 0 h 314325"/>
              <a:gd name="connsiteX2" fmla="*/ 923598 w 923598"/>
              <a:gd name="connsiteY2" fmla="*/ 314325 h 314325"/>
              <a:gd name="connsiteX3" fmla="*/ 0 w 923598"/>
              <a:gd name="connsiteY3" fmla="*/ 314325 h 314325"/>
              <a:gd name="connsiteX4" fmla="*/ 171123 w 923598"/>
              <a:gd name="connsiteY4" fmla="*/ 0 h 314325"/>
              <a:gd name="connsiteX0" fmla="*/ 171123 w 923598"/>
              <a:gd name="connsiteY0" fmla="*/ 0 h 314325"/>
              <a:gd name="connsiteX1" fmla="*/ 923598 w 923598"/>
              <a:gd name="connsiteY1" fmla="*/ 0 h 314325"/>
              <a:gd name="connsiteX2" fmla="*/ 703248 w 923598"/>
              <a:gd name="connsiteY2" fmla="*/ 307140 h 314325"/>
              <a:gd name="connsiteX3" fmla="*/ 0 w 923598"/>
              <a:gd name="connsiteY3" fmla="*/ 314325 h 314325"/>
              <a:gd name="connsiteX4" fmla="*/ 171123 w 923598"/>
              <a:gd name="connsiteY4" fmla="*/ 0 h 314325"/>
              <a:gd name="connsiteX0" fmla="*/ 171123 w 923598"/>
              <a:gd name="connsiteY0" fmla="*/ 0 h 314325"/>
              <a:gd name="connsiteX1" fmla="*/ 923598 w 923598"/>
              <a:gd name="connsiteY1" fmla="*/ 0 h 314325"/>
              <a:gd name="connsiteX2" fmla="*/ 761852 w 923598"/>
              <a:gd name="connsiteY2" fmla="*/ 312529 h 314325"/>
              <a:gd name="connsiteX3" fmla="*/ 0 w 923598"/>
              <a:gd name="connsiteY3" fmla="*/ 314325 h 314325"/>
              <a:gd name="connsiteX4" fmla="*/ 171123 w 923598"/>
              <a:gd name="connsiteY4" fmla="*/ 0 h 314325"/>
              <a:gd name="connsiteX0" fmla="*/ 0 w 1099410"/>
              <a:gd name="connsiteY0" fmla="*/ 0 h 314325"/>
              <a:gd name="connsiteX1" fmla="*/ 1099410 w 1099410"/>
              <a:gd name="connsiteY1" fmla="*/ 0 h 314325"/>
              <a:gd name="connsiteX2" fmla="*/ 937664 w 1099410"/>
              <a:gd name="connsiteY2" fmla="*/ 312529 h 314325"/>
              <a:gd name="connsiteX3" fmla="*/ 175812 w 1099410"/>
              <a:gd name="connsiteY3" fmla="*/ 314325 h 314325"/>
              <a:gd name="connsiteX4" fmla="*/ 0 w 1099410"/>
              <a:gd name="connsiteY4" fmla="*/ 0 h 314325"/>
              <a:gd name="connsiteX0" fmla="*/ 0 w 937664"/>
              <a:gd name="connsiteY0" fmla="*/ 0 h 314325"/>
              <a:gd name="connsiteX1" fmla="*/ 632922 w 937664"/>
              <a:gd name="connsiteY1" fmla="*/ 0 h 314325"/>
              <a:gd name="connsiteX2" fmla="*/ 937664 w 937664"/>
              <a:gd name="connsiteY2" fmla="*/ 312529 h 314325"/>
              <a:gd name="connsiteX3" fmla="*/ 175812 w 937664"/>
              <a:gd name="connsiteY3" fmla="*/ 314325 h 314325"/>
              <a:gd name="connsiteX4" fmla="*/ 0 w 937664"/>
              <a:gd name="connsiteY4" fmla="*/ 0 h 314325"/>
              <a:gd name="connsiteX0" fmla="*/ 0 w 937664"/>
              <a:gd name="connsiteY0" fmla="*/ 0 h 314325"/>
              <a:gd name="connsiteX1" fmla="*/ 761851 w 937664"/>
              <a:gd name="connsiteY1" fmla="*/ 0 h 314325"/>
              <a:gd name="connsiteX2" fmla="*/ 937664 w 937664"/>
              <a:gd name="connsiteY2" fmla="*/ 312529 h 314325"/>
              <a:gd name="connsiteX3" fmla="*/ 175812 w 937664"/>
              <a:gd name="connsiteY3" fmla="*/ 314325 h 314325"/>
              <a:gd name="connsiteX4" fmla="*/ 0 w 937664"/>
              <a:gd name="connsiteY4" fmla="*/ 0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664" h="314325">
                <a:moveTo>
                  <a:pt x="0" y="0"/>
                </a:moveTo>
                <a:lnTo>
                  <a:pt x="761851" y="0"/>
                </a:lnTo>
                <a:lnTo>
                  <a:pt x="937664" y="312529"/>
                </a:lnTo>
                <a:lnTo>
                  <a:pt x="175812" y="314325"/>
                </a:lnTo>
                <a:lnTo>
                  <a:pt x="0"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00" smtClean="0">
                <a:solidFill>
                  <a:prstClr val="black"/>
                </a:solidFill>
              </a:rPr>
              <a:t>Proof of suitability of continous testing</a:t>
            </a:r>
            <a:endParaRPr lang="de-DE" sz="800" dirty="0" smtClean="0">
              <a:solidFill>
                <a:prstClr val="black"/>
              </a:solidFill>
            </a:endParaRPr>
          </a:p>
        </p:txBody>
      </p:sp>
      <p:cxnSp>
        <p:nvCxnSpPr>
          <p:cNvPr id="78" name="Gerade Verbindung 77"/>
          <p:cNvCxnSpPr/>
          <p:nvPr/>
        </p:nvCxnSpPr>
        <p:spPr>
          <a:xfrm>
            <a:off x="5724128" y="2120109"/>
            <a:ext cx="1512000" cy="73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Textfeld 78"/>
          <p:cNvSpPr txBox="1"/>
          <p:nvPr/>
        </p:nvSpPr>
        <p:spPr>
          <a:xfrm>
            <a:off x="5508104" y="1675837"/>
            <a:ext cx="684000" cy="276999"/>
          </a:xfrm>
          <a:prstGeom prst="rect">
            <a:avLst/>
          </a:prstGeom>
          <a:noFill/>
        </p:spPr>
        <p:txBody>
          <a:bodyPr wrap="square" rtlCol="0">
            <a:spAutoFit/>
          </a:bodyPr>
          <a:lstStyle/>
          <a:p>
            <a:r>
              <a:rPr lang="de-DE" sz="600" dirty="0" smtClean="0"/>
              <a:t>ItO 04.05.01.02</a:t>
            </a:r>
            <a:endParaRPr lang="de-DE" sz="600" dirty="0"/>
          </a:p>
        </p:txBody>
      </p:sp>
      <p:sp>
        <p:nvSpPr>
          <p:cNvPr id="82" name="Textfeld 81"/>
          <p:cNvSpPr txBox="1"/>
          <p:nvPr/>
        </p:nvSpPr>
        <p:spPr>
          <a:xfrm>
            <a:off x="5652120" y="2096852"/>
            <a:ext cx="684000" cy="276999"/>
          </a:xfrm>
          <a:prstGeom prst="rect">
            <a:avLst/>
          </a:prstGeom>
          <a:noFill/>
        </p:spPr>
        <p:txBody>
          <a:bodyPr wrap="square" rtlCol="0">
            <a:spAutoFit/>
          </a:bodyPr>
          <a:lstStyle/>
          <a:p>
            <a:r>
              <a:rPr lang="de-DE" sz="600" dirty="0" smtClean="0"/>
              <a:t>ItO 04.05.01.01</a:t>
            </a:r>
            <a:endParaRPr lang="de-DE" sz="600" dirty="0"/>
          </a:p>
        </p:txBody>
      </p:sp>
      <p:sp>
        <p:nvSpPr>
          <p:cNvPr id="89" name="Textfeld 88"/>
          <p:cNvSpPr txBox="1"/>
          <p:nvPr/>
        </p:nvSpPr>
        <p:spPr>
          <a:xfrm>
            <a:off x="1349723" y="1679036"/>
            <a:ext cx="684000" cy="184666"/>
          </a:xfrm>
          <a:prstGeom prst="rect">
            <a:avLst/>
          </a:prstGeom>
          <a:noFill/>
        </p:spPr>
        <p:txBody>
          <a:bodyPr wrap="square" rtlCol="0">
            <a:spAutoFit/>
          </a:bodyPr>
          <a:lstStyle/>
          <a:p>
            <a:r>
              <a:rPr lang="de-DE" sz="600" dirty="0" smtClean="0"/>
              <a:t>ItO 02.02.01.06 </a:t>
            </a:r>
            <a:endParaRPr lang="de-DE" sz="600" dirty="0"/>
          </a:p>
        </p:txBody>
      </p:sp>
      <p:sp>
        <p:nvSpPr>
          <p:cNvPr id="99" name="Textfeld 98"/>
          <p:cNvSpPr txBox="1"/>
          <p:nvPr/>
        </p:nvSpPr>
        <p:spPr>
          <a:xfrm>
            <a:off x="5552306" y="1120098"/>
            <a:ext cx="603870" cy="184666"/>
          </a:xfrm>
          <a:prstGeom prst="rect">
            <a:avLst/>
          </a:prstGeom>
          <a:noFill/>
        </p:spPr>
        <p:txBody>
          <a:bodyPr wrap="square" rtlCol="0">
            <a:spAutoFit/>
          </a:bodyPr>
          <a:lstStyle/>
          <a:p>
            <a:r>
              <a:rPr lang="de-DE" sz="600" dirty="0" smtClean="0">
                <a:solidFill>
                  <a:schemeClr val="bg1"/>
                </a:solidFill>
              </a:rPr>
              <a:t>ItO 04.05.01  </a:t>
            </a:r>
            <a:endParaRPr lang="de-DE" sz="600" dirty="0">
              <a:solidFill>
                <a:schemeClr val="bg1"/>
              </a:solidFill>
            </a:endParaRPr>
          </a:p>
        </p:txBody>
      </p:sp>
      <p:sp>
        <p:nvSpPr>
          <p:cNvPr id="102" name="Textfeld 101"/>
          <p:cNvSpPr txBox="1"/>
          <p:nvPr/>
        </p:nvSpPr>
        <p:spPr>
          <a:xfrm>
            <a:off x="439738" y="1120098"/>
            <a:ext cx="603870" cy="184666"/>
          </a:xfrm>
          <a:prstGeom prst="rect">
            <a:avLst/>
          </a:prstGeom>
          <a:noFill/>
        </p:spPr>
        <p:txBody>
          <a:bodyPr wrap="square" rtlCol="0">
            <a:spAutoFit/>
          </a:bodyPr>
          <a:lstStyle/>
          <a:p>
            <a:r>
              <a:rPr lang="de-DE" sz="600" dirty="0" smtClean="0">
                <a:solidFill>
                  <a:schemeClr val="bg1"/>
                </a:solidFill>
              </a:rPr>
              <a:t>ItO 02.02.01  </a:t>
            </a:r>
            <a:endParaRPr lang="de-DE" sz="600" dirty="0">
              <a:solidFill>
                <a:schemeClr val="bg1"/>
              </a:solidFill>
            </a:endParaRPr>
          </a:p>
        </p:txBody>
      </p:sp>
      <p:sp>
        <p:nvSpPr>
          <p:cNvPr id="65" name="Foliennummernplatzhalter 27"/>
          <p:cNvSpPr txBox="1">
            <a:spLocks/>
          </p:cNvSpPr>
          <p:nvPr/>
        </p:nvSpPr>
        <p:spPr>
          <a:xfrm>
            <a:off x="6553200" y="6528871"/>
            <a:ext cx="2124075" cy="329130"/>
          </a:xfrm>
          <a:prstGeom prst="rect">
            <a:avLst/>
          </a:prstGeom>
        </p:spPr>
        <p:txBody>
          <a:bodyPr vert="horz"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chemeClr val="tx1"/>
                </a:solidFill>
                <a:effectLst/>
                <a:uLnTx/>
                <a:uFillTx/>
                <a:latin typeface="+mn-lt"/>
                <a:ea typeface="+mn-ea"/>
                <a:cs typeface="+mn-cs"/>
              </a:rPr>
              <a:t>Slide 13</a:t>
            </a:r>
            <a:endParaRPr kumimoji="0" lang="de-DE" sz="9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 xmlns:p14="http://schemas.microsoft.com/office/powerpoint/2010/main" val="83749577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0" name="Objekt 79" hidden="1"/>
          <p:cNvGraphicFramePr>
            <a:graphicFrameLocks noChangeAspect="1"/>
          </p:cNvGraphicFramePr>
          <p:nvPr/>
        </p:nvGraphicFramePr>
        <p:xfrm>
          <a:off x="0" y="0"/>
          <a:ext cx="158750" cy="158750"/>
        </p:xfrm>
        <a:graphic>
          <a:graphicData uri="http://schemas.openxmlformats.org/presentationml/2006/ole">
            <p:oleObj spid="_x0000_s62466" name="think-cell Folie" r:id="rId3" imgW="360" imgH="360" progId="TCLayout.ActiveDocument.1">
              <p:embed/>
            </p:oleObj>
          </a:graphicData>
        </a:graphic>
      </p:graphicFrame>
      <p:sp>
        <p:nvSpPr>
          <p:cNvPr id="221" name="Rechteck 220"/>
          <p:cNvSpPr/>
          <p:nvPr/>
        </p:nvSpPr>
        <p:spPr>
          <a:xfrm>
            <a:off x="4799545" y="1701800"/>
            <a:ext cx="3887255" cy="4821586"/>
          </a:xfrm>
          <a:prstGeom prst="rect">
            <a:avLst/>
          </a:prstGeom>
          <a:solidFill>
            <a:schemeClr val="tx2">
              <a:lumMod val="20000"/>
              <a:lumOff val="80000"/>
            </a:schemeClr>
          </a:solidFill>
          <a:ln>
            <a:solidFill>
              <a:schemeClr val="tx2">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platzhalter 3"/>
          <p:cNvSpPr>
            <a:spLocks noGrp="1"/>
          </p:cNvSpPr>
          <p:nvPr>
            <p:ph type="body" sz="quarter" idx="13"/>
          </p:nvPr>
        </p:nvSpPr>
        <p:spPr/>
        <p:txBody>
          <a:bodyPr/>
          <a:lstStyle/>
          <a:p>
            <a:r>
              <a:rPr lang="de-DE" smtClean="0"/>
              <a:t>Transparency of maturity regarding</a:t>
            </a:r>
            <a:endParaRPr lang="de-DE" dirty="0" smtClean="0"/>
          </a:p>
          <a:p>
            <a:r>
              <a:rPr lang="de-DE" smtClean="0"/>
              <a:t>component, Module and total vehicle.</a:t>
            </a:r>
            <a:endParaRPr lang="de-DE" dirty="0" smtClean="0">
              <a:solidFill>
                <a:schemeClr val="tx1"/>
              </a:solidFill>
            </a:endParaRPr>
          </a:p>
          <a:p>
            <a:r>
              <a:rPr lang="de-DE" sz="2000" smtClean="0">
                <a:solidFill>
                  <a:schemeClr val="tx1"/>
                </a:solidFill>
              </a:rPr>
              <a:t>Merging </a:t>
            </a:r>
            <a:r>
              <a:rPr lang="de-DE" sz="2000" dirty="0" smtClean="0">
                <a:solidFill>
                  <a:schemeClr val="tx1"/>
                </a:solidFill>
              </a:rPr>
              <a:t>of product </a:t>
            </a:r>
            <a:r>
              <a:rPr lang="de-DE" sz="2000" smtClean="0">
                <a:solidFill>
                  <a:schemeClr val="tx1"/>
                </a:solidFill>
              </a:rPr>
              <a:t>and process </a:t>
            </a:r>
            <a:r>
              <a:rPr lang="de-DE" sz="2000" dirty="0" smtClean="0">
                <a:solidFill>
                  <a:schemeClr val="tx1"/>
                </a:solidFill>
              </a:rPr>
              <a:t>maturity</a:t>
            </a:r>
            <a:r>
              <a:rPr lang="de-DE" sz="2000" smtClean="0">
                <a:solidFill>
                  <a:schemeClr val="tx1"/>
                </a:solidFill>
              </a:rPr>
              <a:t>. </a:t>
            </a:r>
          </a:p>
          <a:p>
            <a:endParaRPr lang="de-DE" sz="2000" dirty="0" smtClean="0">
              <a:solidFill>
                <a:schemeClr val="tx1"/>
              </a:solidFill>
            </a:endParaRPr>
          </a:p>
          <a:p>
            <a:endParaRPr lang="de-DE" dirty="0" smtClean="0"/>
          </a:p>
          <a:p>
            <a:endParaRPr lang="de-DE" dirty="0"/>
          </a:p>
        </p:txBody>
      </p:sp>
      <p:sp>
        <p:nvSpPr>
          <p:cNvPr id="213" name="Fußzeilenplatzhalter 127"/>
          <p:cNvSpPr>
            <a:spLocks noGrp="1"/>
          </p:cNvSpPr>
          <p:nvPr>
            <p:ph type="ftr" sz="quarter" idx="10"/>
          </p:nvPr>
        </p:nvSpPr>
        <p:spPr>
          <a:xfrm>
            <a:off x="468312" y="6526213"/>
            <a:ext cx="4827019" cy="331787"/>
          </a:xfrm>
        </p:spPr>
        <p:txBody>
          <a:bodyPr/>
          <a:lstStyle/>
          <a:p>
            <a:pPr algn="l"/>
            <a:r>
              <a:rPr lang="de-DE" smtClean="0"/>
              <a:t>Maturity Level Management Total Vehicle, Communication, Version 4.2</a:t>
            </a:r>
            <a:endParaRPr lang="de-DE" dirty="0"/>
          </a:p>
        </p:txBody>
      </p:sp>
      <p:sp>
        <p:nvSpPr>
          <p:cNvPr id="201" name="Rechteck 200"/>
          <p:cNvSpPr/>
          <p:nvPr/>
        </p:nvSpPr>
        <p:spPr>
          <a:xfrm>
            <a:off x="459687" y="1701800"/>
            <a:ext cx="3888000" cy="4821586"/>
          </a:xfrm>
          <a:prstGeom prst="rect">
            <a:avLst/>
          </a:prstGeom>
          <a:solidFill>
            <a:schemeClr val="tx2">
              <a:lumMod val="20000"/>
              <a:lumOff val="80000"/>
            </a:schemeClr>
          </a:solidFill>
          <a:ln>
            <a:solidFill>
              <a:schemeClr val="tx2">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smtClean="0"/>
          </a:p>
        </p:txBody>
      </p:sp>
      <p:sp>
        <p:nvSpPr>
          <p:cNvPr id="202" name="Gleichschenkliges Dreieck 201"/>
          <p:cNvSpPr/>
          <p:nvPr/>
        </p:nvSpPr>
        <p:spPr>
          <a:xfrm rot="5400000">
            <a:off x="2197657" y="3973973"/>
            <a:ext cx="4788000" cy="25200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9" name="Rechteck 208"/>
          <p:cNvSpPr/>
          <p:nvPr/>
        </p:nvSpPr>
        <p:spPr>
          <a:xfrm>
            <a:off x="459687" y="1705973"/>
            <a:ext cx="3888000" cy="360000"/>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altLang="de-DE" sz="1600" b="1" dirty="0" err="1" smtClean="0">
                <a:solidFill>
                  <a:schemeClr val="bg1"/>
                </a:solidFill>
                <a:latin typeface="BMW Group" pitchFamily="2" charset="0"/>
                <a:cs typeface="BMW Group" pitchFamily="2" charset="0"/>
              </a:rPr>
              <a:t>Product</a:t>
            </a:r>
            <a:r>
              <a:rPr lang="de-DE" altLang="de-DE" sz="1600" b="1" dirty="0" smtClean="0">
                <a:solidFill>
                  <a:schemeClr val="bg1"/>
                </a:solidFill>
                <a:latin typeface="BMW Group" pitchFamily="2" charset="0"/>
                <a:cs typeface="BMW Group" pitchFamily="2" charset="0"/>
              </a:rPr>
              <a:t> </a:t>
            </a:r>
            <a:r>
              <a:rPr lang="de-DE" altLang="de-DE" sz="1600" b="1" dirty="0" err="1" smtClean="0">
                <a:solidFill>
                  <a:schemeClr val="bg1"/>
                </a:solidFill>
                <a:latin typeface="BMW Group" pitchFamily="2" charset="0"/>
                <a:cs typeface="BMW Group" pitchFamily="2" charset="0"/>
              </a:rPr>
              <a:t>and</a:t>
            </a:r>
            <a:r>
              <a:rPr lang="de-DE" altLang="de-DE" sz="1600" b="1" dirty="0" smtClean="0">
                <a:solidFill>
                  <a:schemeClr val="bg1"/>
                </a:solidFill>
                <a:latin typeface="BMW Group" pitchFamily="2" charset="0"/>
                <a:cs typeface="BMW Group" pitchFamily="2" charset="0"/>
              </a:rPr>
              <a:t> </a:t>
            </a:r>
            <a:r>
              <a:rPr lang="de-DE" altLang="de-DE" sz="1600" b="1" dirty="0" err="1" smtClean="0">
                <a:solidFill>
                  <a:schemeClr val="bg1"/>
                </a:solidFill>
                <a:latin typeface="BMW Group" pitchFamily="2" charset="0"/>
                <a:cs typeface="BMW Group" pitchFamily="2" charset="0"/>
              </a:rPr>
              <a:t>Process</a:t>
            </a:r>
            <a:r>
              <a:rPr lang="de-DE" altLang="de-DE" sz="1600" b="1" dirty="0" smtClean="0">
                <a:solidFill>
                  <a:schemeClr val="bg1"/>
                </a:solidFill>
                <a:latin typeface="BMW Group" pitchFamily="2" charset="0"/>
                <a:cs typeface="BMW Group" pitchFamily="2" charset="0"/>
              </a:rPr>
              <a:t> </a:t>
            </a:r>
            <a:r>
              <a:rPr lang="de-DE" altLang="de-DE" sz="1600" b="1" dirty="0" err="1" smtClean="0">
                <a:solidFill>
                  <a:schemeClr val="bg1"/>
                </a:solidFill>
                <a:latin typeface="BMW Group" pitchFamily="2" charset="0"/>
                <a:cs typeface="BMW Group" pitchFamily="2" charset="0"/>
              </a:rPr>
              <a:t>Maturity</a:t>
            </a:r>
            <a:endParaRPr lang="de-DE" altLang="de-DE" sz="1600" b="1" dirty="0">
              <a:solidFill>
                <a:schemeClr val="bg1"/>
              </a:solidFill>
              <a:latin typeface="BMW Group" pitchFamily="2" charset="0"/>
              <a:cs typeface="BMW Group" pitchFamily="2" charset="0"/>
            </a:endParaRPr>
          </a:p>
        </p:txBody>
      </p:sp>
      <p:sp>
        <p:nvSpPr>
          <p:cNvPr id="215" name="Rechteck 214"/>
          <p:cNvSpPr/>
          <p:nvPr/>
        </p:nvSpPr>
        <p:spPr>
          <a:xfrm>
            <a:off x="4799545" y="1705973"/>
            <a:ext cx="3888000" cy="360000"/>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b="1" smtClean="0"/>
              <a:t>Reporting</a:t>
            </a:r>
            <a:endParaRPr lang="de-DE" b="1" dirty="0"/>
          </a:p>
        </p:txBody>
      </p:sp>
      <p:pic>
        <p:nvPicPr>
          <p:cNvPr id="16" name="Picture 7"/>
          <p:cNvPicPr>
            <a:picLocks noChangeAspect="1" noChangeArrowheads="1"/>
          </p:cNvPicPr>
          <p:nvPr/>
        </p:nvPicPr>
        <p:blipFill>
          <a:blip r:embed="rId4" cstate="print"/>
          <a:srcRect/>
          <a:stretch>
            <a:fillRect/>
          </a:stretch>
        </p:blipFill>
        <p:spPr bwMode="auto">
          <a:xfrm>
            <a:off x="468312" y="2115579"/>
            <a:ext cx="3854692" cy="2720666"/>
          </a:xfrm>
          <a:prstGeom prst="rect">
            <a:avLst/>
          </a:prstGeom>
          <a:noFill/>
          <a:ln w="9525">
            <a:noFill/>
            <a:miter lim="800000"/>
            <a:headEnd/>
            <a:tailEnd/>
          </a:ln>
          <a:effectLst/>
        </p:spPr>
      </p:pic>
      <p:sp>
        <p:nvSpPr>
          <p:cNvPr id="19" name="Rectangle 3"/>
          <p:cNvSpPr>
            <a:spLocks noChangeArrowheads="1"/>
          </p:cNvSpPr>
          <p:nvPr/>
        </p:nvSpPr>
        <p:spPr bwMode="auto">
          <a:xfrm>
            <a:off x="468313" y="4808172"/>
            <a:ext cx="3924000" cy="160043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r>
              <a:rPr lang="de-DE" altLang="de-DE" sz="1400" smtClean="0"/>
              <a:t>Maturity level management is the </a:t>
            </a:r>
            <a:r>
              <a:rPr lang="de-DE" altLang="de-DE" sz="1400" b="1" smtClean="0"/>
              <a:t>impulse generator </a:t>
            </a:r>
            <a:r>
              <a:rPr lang="de-DE" altLang="de-DE" sz="1400" smtClean="0"/>
              <a:t>for needs-oriented implementation of process over E, M and T in order to achieve a </a:t>
            </a:r>
            <a:r>
              <a:rPr lang="de-DE" altLang="de-DE" sz="1400" b="1" smtClean="0"/>
              <a:t>customer-oriented product and process quality</a:t>
            </a:r>
            <a:r>
              <a:rPr lang="de-DE" altLang="de-DE" sz="1400" smtClean="0"/>
              <a:t>. </a:t>
            </a:r>
            <a:endParaRPr lang="de-DE" altLang="de-DE" sz="1400" b="1" smtClean="0"/>
          </a:p>
          <a:p>
            <a:endParaRPr lang="de-DE" altLang="de-DE" sz="1400" b="1" dirty="0" smtClean="0"/>
          </a:p>
          <a:p>
            <a:r>
              <a:rPr lang="de-DE" sz="1400" smtClean="0"/>
              <a:t>Planning, controlling and implementation of processes is aligned to EMT </a:t>
            </a:r>
            <a:r>
              <a:rPr lang="de-DE" sz="1400" b="1" smtClean="0"/>
              <a:t>Maturity Level Management</a:t>
            </a:r>
            <a:r>
              <a:rPr lang="de-DE" sz="1400" smtClean="0"/>
              <a:t>.</a:t>
            </a:r>
            <a:endParaRPr lang="de-DE" sz="1400" dirty="0" smtClean="0"/>
          </a:p>
        </p:txBody>
      </p:sp>
      <p:sp>
        <p:nvSpPr>
          <p:cNvPr id="24" name="Rechteck 23"/>
          <p:cNvSpPr/>
          <p:nvPr/>
        </p:nvSpPr>
        <p:spPr>
          <a:xfrm>
            <a:off x="6984120" y="2300671"/>
            <a:ext cx="1692000" cy="1815882"/>
          </a:xfrm>
          <a:prstGeom prst="rect">
            <a:avLst/>
          </a:prstGeom>
        </p:spPr>
        <p:txBody>
          <a:bodyPr wrap="square">
            <a:spAutoFit/>
          </a:bodyPr>
          <a:lstStyle/>
          <a:p>
            <a:r>
              <a:rPr lang="de-DE" sz="1400" b="1" dirty="0" err="1" smtClean="0"/>
              <a:t>Objective</a:t>
            </a:r>
            <a:r>
              <a:rPr lang="de-DE" sz="1400" b="1" dirty="0" smtClean="0"/>
              <a:t> </a:t>
            </a:r>
            <a:r>
              <a:rPr lang="de-DE" sz="1400" b="1" dirty="0" err="1" smtClean="0"/>
              <a:t>presentation</a:t>
            </a:r>
            <a:r>
              <a:rPr lang="de-DE" sz="1400" b="1" dirty="0" smtClean="0"/>
              <a:t> </a:t>
            </a:r>
            <a:r>
              <a:rPr lang="de-DE" sz="1400" dirty="0" err="1" smtClean="0"/>
              <a:t>of</a:t>
            </a:r>
            <a:r>
              <a:rPr lang="de-DE" sz="1400" dirty="0" smtClean="0"/>
              <a:t> </a:t>
            </a:r>
          </a:p>
          <a:p>
            <a:r>
              <a:rPr lang="de-DE" sz="1400" b="1" dirty="0" smtClean="0"/>
              <a:t>total </a:t>
            </a:r>
            <a:r>
              <a:rPr lang="de-DE" sz="1400" b="1" dirty="0" err="1" smtClean="0"/>
              <a:t>vehicle</a:t>
            </a:r>
            <a:r>
              <a:rPr lang="de-DE" sz="1400" b="1" dirty="0" smtClean="0"/>
              <a:t> </a:t>
            </a:r>
            <a:r>
              <a:rPr lang="de-DE" sz="1400" b="1" dirty="0" err="1" smtClean="0"/>
              <a:t>maturity</a:t>
            </a:r>
            <a:r>
              <a:rPr lang="de-DE" sz="1400" b="1" dirty="0" smtClean="0"/>
              <a:t> </a:t>
            </a:r>
            <a:r>
              <a:rPr lang="de-DE" sz="1400" dirty="0" smtClean="0"/>
              <a:t>(</a:t>
            </a:r>
            <a:r>
              <a:rPr lang="de-DE" sz="1400" dirty="0" err="1" smtClean="0"/>
              <a:t>actual</a:t>
            </a:r>
            <a:r>
              <a:rPr lang="de-DE" sz="1400" dirty="0" smtClean="0"/>
              <a:t> </a:t>
            </a:r>
            <a:r>
              <a:rPr lang="de-DE" sz="1400" dirty="0" err="1" smtClean="0"/>
              <a:t>condition</a:t>
            </a:r>
            <a:r>
              <a:rPr lang="de-DE" sz="1400" dirty="0" smtClean="0"/>
              <a:t>) </a:t>
            </a:r>
            <a:r>
              <a:rPr lang="de-DE" sz="1400" dirty="0" err="1" smtClean="0"/>
              <a:t>based</a:t>
            </a:r>
            <a:r>
              <a:rPr lang="de-DE" sz="1400" dirty="0" smtClean="0"/>
              <a:t> on </a:t>
            </a:r>
            <a:r>
              <a:rPr lang="de-DE" sz="1400" dirty="0" err="1" smtClean="0"/>
              <a:t>maturity</a:t>
            </a:r>
            <a:r>
              <a:rPr lang="de-DE" sz="1400" dirty="0" smtClean="0"/>
              <a:t> </a:t>
            </a:r>
            <a:r>
              <a:rPr lang="de-DE" sz="1400" dirty="0" err="1" smtClean="0"/>
              <a:t>level-target</a:t>
            </a:r>
            <a:r>
              <a:rPr lang="de-DE" sz="1400" dirty="0" smtClean="0"/>
              <a:t> </a:t>
            </a:r>
            <a:r>
              <a:rPr lang="de-DE" sz="1400" dirty="0" err="1" smtClean="0"/>
              <a:t>planning</a:t>
            </a:r>
            <a:r>
              <a:rPr lang="de-DE" sz="1400" dirty="0" smtClean="0"/>
              <a:t> </a:t>
            </a:r>
            <a:r>
              <a:rPr lang="de-DE" sz="1400" dirty="0" err="1" smtClean="0"/>
              <a:t>and</a:t>
            </a:r>
            <a:r>
              <a:rPr lang="de-DE" sz="1400" dirty="0" smtClean="0"/>
              <a:t> </a:t>
            </a:r>
            <a:r>
              <a:rPr lang="de-DE" sz="1400" dirty="0" err="1" smtClean="0"/>
              <a:t>shown</a:t>
            </a:r>
            <a:r>
              <a:rPr lang="de-DE" sz="1400" dirty="0" smtClean="0"/>
              <a:t> </a:t>
            </a:r>
            <a:r>
              <a:rPr lang="de-DE" sz="1400" dirty="0" err="1" smtClean="0"/>
              <a:t>by</a:t>
            </a:r>
            <a:r>
              <a:rPr lang="de-DE" sz="1400" dirty="0" smtClean="0"/>
              <a:t> </a:t>
            </a:r>
            <a:r>
              <a:rPr lang="de-DE" sz="1400" dirty="0" err="1" smtClean="0"/>
              <a:t>maturity</a:t>
            </a:r>
            <a:r>
              <a:rPr lang="de-DE" sz="1400" dirty="0" smtClean="0"/>
              <a:t> </a:t>
            </a:r>
            <a:r>
              <a:rPr lang="de-DE" sz="1400" dirty="0" err="1" smtClean="0"/>
              <a:t>index</a:t>
            </a:r>
            <a:r>
              <a:rPr lang="de-DE" sz="1400" dirty="0" smtClean="0"/>
              <a:t>. </a:t>
            </a:r>
            <a:endParaRPr lang="de-DE" sz="1400" dirty="0"/>
          </a:p>
        </p:txBody>
      </p:sp>
      <p:pic>
        <p:nvPicPr>
          <p:cNvPr id="25" name="Picture 2"/>
          <p:cNvPicPr>
            <a:picLocks noChangeAspect="1" noChangeArrowheads="1"/>
          </p:cNvPicPr>
          <p:nvPr/>
        </p:nvPicPr>
        <p:blipFill>
          <a:blip r:embed="rId5" cstate="print">
            <a:clrChange>
              <a:clrFrom>
                <a:srgbClr val="FFFFFF"/>
              </a:clrFrom>
              <a:clrTo>
                <a:srgbClr val="FFFFFF">
                  <a:alpha val="0"/>
                </a:srgbClr>
              </a:clrTo>
            </a:clrChange>
          </a:blip>
          <a:srcRect l="32918" t="963" r="2097" b="31384"/>
          <a:stretch>
            <a:fillRect/>
          </a:stretch>
        </p:blipFill>
        <p:spPr bwMode="auto">
          <a:xfrm>
            <a:off x="4894141" y="2194409"/>
            <a:ext cx="1998750" cy="1812963"/>
          </a:xfrm>
          <a:prstGeom prst="rect">
            <a:avLst/>
          </a:prstGeom>
          <a:noFill/>
          <a:ln w="9525">
            <a:solidFill>
              <a:schemeClr val="bg1">
                <a:lumMod val="65000"/>
              </a:schemeClr>
            </a:solidFill>
            <a:miter lim="800000"/>
            <a:headEnd/>
            <a:tailEnd/>
          </a:ln>
        </p:spPr>
      </p:pic>
      <p:sp>
        <p:nvSpPr>
          <p:cNvPr id="26" name="Rectangle 3"/>
          <p:cNvSpPr>
            <a:spLocks noChangeArrowheads="1"/>
          </p:cNvSpPr>
          <p:nvPr/>
        </p:nvSpPr>
        <p:spPr bwMode="auto">
          <a:xfrm>
            <a:off x="4799545" y="4056764"/>
            <a:ext cx="3924000" cy="246221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477641" lvl="0" indent="-296740" defTabSz="955281">
              <a:buFont typeface="Symbol" pitchFamily="18" charset="2"/>
              <a:buChar char="-"/>
              <a:defRPr/>
            </a:pPr>
            <a:r>
              <a:rPr lang="de-DE" sz="1400" b="1" dirty="0" err="1" smtClean="0"/>
              <a:t>Approval</a:t>
            </a:r>
            <a:r>
              <a:rPr lang="de-DE" sz="1400" b="1" dirty="0" smtClean="0"/>
              <a:t> </a:t>
            </a:r>
            <a:r>
              <a:rPr lang="de-DE" sz="1400" b="1" dirty="0" err="1" smtClean="0"/>
              <a:t>of</a:t>
            </a:r>
            <a:r>
              <a:rPr lang="de-DE" sz="1400" b="1" dirty="0" smtClean="0"/>
              <a:t> </a:t>
            </a:r>
            <a:r>
              <a:rPr lang="de-DE" sz="1400" b="1" dirty="0" err="1" smtClean="0"/>
              <a:t>maturity</a:t>
            </a:r>
            <a:r>
              <a:rPr lang="de-DE" sz="1400" b="1" dirty="0" smtClean="0"/>
              <a:t> </a:t>
            </a:r>
            <a:r>
              <a:rPr lang="de-DE" sz="1400" b="1" dirty="0" err="1" smtClean="0"/>
              <a:t>steps</a:t>
            </a:r>
            <a:r>
              <a:rPr lang="de-DE" sz="1400" b="1" dirty="0" smtClean="0"/>
              <a:t> </a:t>
            </a:r>
            <a:r>
              <a:rPr lang="de-DE" sz="1400" b="1" dirty="0" err="1" smtClean="0"/>
              <a:t>by</a:t>
            </a:r>
            <a:endParaRPr lang="de-DE" sz="1400" b="1" dirty="0" smtClean="0"/>
          </a:p>
          <a:p>
            <a:pPr marL="477641" lvl="0" indent="-296740" defTabSz="955281">
              <a:defRPr/>
            </a:pPr>
            <a:r>
              <a:rPr lang="de-DE" sz="1400" b="1" dirty="0" smtClean="0"/>
              <a:t>	</a:t>
            </a:r>
            <a:r>
              <a:rPr lang="de-DE" sz="1400" dirty="0" smtClean="0"/>
              <a:t>- </a:t>
            </a:r>
            <a:r>
              <a:rPr lang="de-DE" sz="1400" b="1" dirty="0" smtClean="0"/>
              <a:t>Management Circle </a:t>
            </a:r>
            <a:r>
              <a:rPr lang="de-DE" sz="1400" b="1" dirty="0" err="1" smtClean="0"/>
              <a:t>ProGF</a:t>
            </a:r>
            <a:r>
              <a:rPr lang="de-DE" sz="1400" b="1" dirty="0" smtClean="0"/>
              <a:t> </a:t>
            </a:r>
            <a:r>
              <a:rPr lang="de-DE" sz="1400" dirty="0" smtClean="0"/>
              <a:t>(„</a:t>
            </a:r>
            <a:r>
              <a:rPr lang="de-DE" sz="1400" dirty="0" err="1" smtClean="0"/>
              <a:t>early</a:t>
            </a:r>
            <a:r>
              <a:rPr lang="de-DE" sz="1400" dirty="0" smtClean="0"/>
              <a:t> </a:t>
            </a:r>
            <a:r>
              <a:rPr lang="de-DE" sz="1400" dirty="0" err="1" smtClean="0"/>
              <a:t>stage</a:t>
            </a:r>
            <a:r>
              <a:rPr lang="de-DE" sz="1400" dirty="0" smtClean="0"/>
              <a:t>“)</a:t>
            </a:r>
          </a:p>
          <a:p>
            <a:pPr marL="477641" lvl="0" indent="-296740" defTabSz="955281">
              <a:defRPr/>
            </a:pPr>
            <a:r>
              <a:rPr lang="de-DE" sz="1400" b="1" dirty="0" smtClean="0"/>
              <a:t>	</a:t>
            </a:r>
            <a:r>
              <a:rPr lang="de-DE" sz="1400" dirty="0" smtClean="0"/>
              <a:t>- </a:t>
            </a:r>
            <a:r>
              <a:rPr lang="de-DE" sz="1400" b="1" dirty="0" err="1" smtClean="0"/>
              <a:t>Steering</a:t>
            </a:r>
            <a:r>
              <a:rPr lang="de-DE" sz="1400" b="1" dirty="0" smtClean="0"/>
              <a:t> </a:t>
            </a:r>
            <a:r>
              <a:rPr lang="de-DE" sz="1400" b="1" dirty="0" err="1" smtClean="0"/>
              <a:t>Committee</a:t>
            </a:r>
            <a:r>
              <a:rPr lang="de-DE" sz="1400" b="1" dirty="0" smtClean="0"/>
              <a:t> Plant 0 </a:t>
            </a:r>
            <a:r>
              <a:rPr lang="de-DE" sz="1400" dirty="0" smtClean="0"/>
              <a:t>(RS 200 </a:t>
            </a:r>
            <a:r>
              <a:rPr lang="de-DE" sz="1400" dirty="0" err="1" smtClean="0"/>
              <a:t>for</a:t>
            </a:r>
            <a:r>
              <a:rPr lang="de-DE" sz="1400" dirty="0" smtClean="0"/>
              <a:t> </a:t>
            </a:r>
            <a:r>
              <a:rPr lang="de-DE" sz="1400" dirty="0" err="1" smtClean="0"/>
              <a:t>target</a:t>
            </a:r>
            <a:r>
              <a:rPr lang="de-DE" sz="1400" dirty="0" smtClean="0"/>
              <a:t> </a:t>
            </a:r>
            <a:r>
              <a:rPr lang="de-DE" sz="1400" dirty="0" err="1" smtClean="0"/>
              <a:t>agreement</a:t>
            </a:r>
            <a:r>
              <a:rPr lang="de-DE" sz="1400" dirty="0" smtClean="0"/>
              <a:t> derivative, RS 300 </a:t>
            </a:r>
            <a:r>
              <a:rPr lang="de-DE" sz="1400" dirty="0" err="1" smtClean="0"/>
              <a:t>for</a:t>
            </a:r>
            <a:r>
              <a:rPr lang="de-DE" sz="1400" dirty="0" smtClean="0"/>
              <a:t> DOC </a:t>
            </a:r>
            <a:r>
              <a:rPr lang="de-DE" sz="1400" dirty="0" err="1" smtClean="0"/>
              <a:t>forecast</a:t>
            </a:r>
            <a:r>
              <a:rPr lang="de-DE" sz="1400" dirty="0" smtClean="0"/>
              <a:t> BBG </a:t>
            </a:r>
            <a:r>
              <a:rPr lang="de-DE" sz="1400" dirty="0" err="1" smtClean="0"/>
              <a:t>and</a:t>
            </a:r>
            <a:r>
              <a:rPr lang="de-DE" sz="1400" dirty="0" smtClean="0"/>
              <a:t> RS 400)</a:t>
            </a:r>
          </a:p>
          <a:p>
            <a:pPr marL="477641" indent="-296740" defTabSz="955281">
              <a:defRPr/>
            </a:pPr>
            <a:r>
              <a:rPr lang="de-DE" sz="1400" dirty="0" smtClean="0"/>
              <a:t>	- </a:t>
            </a:r>
            <a:r>
              <a:rPr lang="de-DE" sz="1400" b="1" dirty="0" err="1" smtClean="0"/>
              <a:t>Steering</a:t>
            </a:r>
            <a:r>
              <a:rPr lang="de-DE" sz="1400" b="1" dirty="0" smtClean="0"/>
              <a:t> </a:t>
            </a:r>
            <a:r>
              <a:rPr lang="de-DE" sz="1400" b="1" dirty="0" err="1" smtClean="0"/>
              <a:t>Committee</a:t>
            </a:r>
            <a:r>
              <a:rPr lang="de-DE" sz="1400" b="1" dirty="0" smtClean="0"/>
              <a:t>  </a:t>
            </a:r>
            <a:r>
              <a:rPr lang="de-DE" sz="1400" b="1" dirty="0" err="1" smtClean="0"/>
              <a:t>Receiving</a:t>
            </a:r>
            <a:r>
              <a:rPr lang="de-DE" sz="1400" b="1" dirty="0" smtClean="0"/>
              <a:t> Plant </a:t>
            </a:r>
            <a:r>
              <a:rPr lang="de-DE" sz="1400" dirty="0" smtClean="0"/>
              <a:t>(RS 500, </a:t>
            </a:r>
            <a:r>
              <a:rPr lang="de-DE" sz="1400" dirty="0" err="1" smtClean="0"/>
              <a:t>as</a:t>
            </a:r>
            <a:r>
              <a:rPr lang="de-DE" sz="1400" dirty="0" smtClean="0"/>
              <a:t> well </a:t>
            </a:r>
            <a:r>
              <a:rPr lang="de-DE" sz="1400" dirty="0" err="1" smtClean="0"/>
              <a:t>as</a:t>
            </a:r>
            <a:r>
              <a:rPr lang="de-DE" sz="1400" dirty="0" smtClean="0"/>
              <a:t> </a:t>
            </a:r>
            <a:r>
              <a:rPr lang="de-DE" sz="1400" dirty="0" err="1" smtClean="0"/>
              <a:t>handover</a:t>
            </a:r>
            <a:r>
              <a:rPr lang="de-DE" sz="1400" dirty="0" smtClean="0"/>
              <a:t> </a:t>
            </a:r>
            <a:r>
              <a:rPr lang="de-DE" sz="1400" dirty="0" err="1" smtClean="0"/>
              <a:t>of</a:t>
            </a:r>
            <a:r>
              <a:rPr lang="de-DE" sz="1400" dirty="0" smtClean="0"/>
              <a:t> </a:t>
            </a:r>
            <a:r>
              <a:rPr lang="de-DE" sz="1400" dirty="0" err="1" smtClean="0"/>
              <a:t>vehicle</a:t>
            </a:r>
            <a:r>
              <a:rPr lang="de-DE" sz="1400" dirty="0" smtClean="0"/>
              <a:t> </a:t>
            </a:r>
            <a:r>
              <a:rPr lang="de-DE" sz="1400" dirty="0" err="1" smtClean="0"/>
              <a:t>project</a:t>
            </a:r>
            <a:r>
              <a:rPr lang="de-DE" sz="1400" dirty="0" smtClean="0"/>
              <a:t> </a:t>
            </a:r>
            <a:r>
              <a:rPr lang="de-DE" sz="1400" dirty="0" err="1" smtClean="0"/>
              <a:t>from</a:t>
            </a:r>
            <a:r>
              <a:rPr lang="de-DE" sz="1400" dirty="0" smtClean="0"/>
              <a:t> plant 0 (TI) </a:t>
            </a:r>
            <a:r>
              <a:rPr lang="de-DE" sz="1400" dirty="0" err="1" smtClean="0"/>
              <a:t>to</a:t>
            </a:r>
            <a:r>
              <a:rPr lang="de-DE" sz="1400" dirty="0" smtClean="0"/>
              <a:t> </a:t>
            </a:r>
            <a:r>
              <a:rPr lang="de-DE" sz="1400" dirty="0" err="1" smtClean="0"/>
              <a:t>receiving</a:t>
            </a:r>
            <a:r>
              <a:rPr lang="de-DE" sz="1400" dirty="0" smtClean="0"/>
              <a:t> plant (</a:t>
            </a:r>
            <a:r>
              <a:rPr lang="de-DE" sz="1400" dirty="0" err="1" smtClean="0"/>
              <a:t>Tx</a:t>
            </a:r>
            <a:r>
              <a:rPr lang="de-DE" sz="1400" dirty="0" smtClean="0"/>
              <a:t>), </a:t>
            </a:r>
            <a:r>
              <a:rPr lang="de-DE" sz="1400" dirty="0" err="1" smtClean="0"/>
              <a:t>based</a:t>
            </a:r>
            <a:r>
              <a:rPr lang="de-DE" sz="1400" dirty="0" smtClean="0"/>
              <a:t> on </a:t>
            </a:r>
            <a:r>
              <a:rPr lang="de-DE" sz="1400" dirty="0" err="1" smtClean="0"/>
              <a:t>result</a:t>
            </a:r>
            <a:r>
              <a:rPr lang="de-DE" sz="1400" dirty="0" smtClean="0"/>
              <a:t> BBF Event PVL/VS0)</a:t>
            </a:r>
          </a:p>
          <a:p>
            <a:pPr marL="477641" lvl="0" indent="-296740" defTabSz="955281">
              <a:buFont typeface="Symbol" pitchFamily="18" charset="2"/>
              <a:buChar char="-"/>
              <a:defRPr/>
            </a:pPr>
            <a:r>
              <a:rPr lang="de-DE" sz="1400" dirty="0" err="1" smtClean="0"/>
              <a:t>Monitoring</a:t>
            </a:r>
            <a:r>
              <a:rPr lang="de-DE" sz="1400" dirty="0" smtClean="0"/>
              <a:t> </a:t>
            </a:r>
            <a:r>
              <a:rPr lang="de-DE" sz="1400" dirty="0" err="1" smtClean="0"/>
              <a:t>and</a:t>
            </a:r>
            <a:r>
              <a:rPr lang="de-DE" sz="1400" dirty="0" smtClean="0"/>
              <a:t> </a:t>
            </a:r>
            <a:r>
              <a:rPr lang="de-DE" sz="1400" b="1" dirty="0" err="1" smtClean="0"/>
              <a:t>decisions</a:t>
            </a:r>
            <a:r>
              <a:rPr lang="de-DE" sz="1400" b="1" dirty="0" smtClean="0"/>
              <a:t> </a:t>
            </a:r>
            <a:r>
              <a:rPr lang="de-DE" sz="1400" b="1" dirty="0" err="1" smtClean="0"/>
              <a:t>concerning</a:t>
            </a:r>
            <a:r>
              <a:rPr lang="de-DE" sz="1400" b="1" dirty="0" smtClean="0"/>
              <a:t> </a:t>
            </a:r>
            <a:r>
              <a:rPr lang="de-DE" sz="1400" b="1" dirty="0" err="1" smtClean="0"/>
              <a:t>topics</a:t>
            </a:r>
            <a:r>
              <a:rPr lang="de-DE" sz="1400" b="1" dirty="0" smtClean="0"/>
              <a:t> </a:t>
            </a:r>
            <a:r>
              <a:rPr lang="de-DE" sz="1400" b="1" dirty="0" err="1" smtClean="0"/>
              <a:t>of</a:t>
            </a:r>
            <a:r>
              <a:rPr lang="de-DE" sz="1400" b="1" dirty="0" smtClean="0"/>
              <a:t> </a:t>
            </a:r>
            <a:r>
              <a:rPr lang="de-DE" sz="1400" b="1" dirty="0" err="1" smtClean="0"/>
              <a:t>escalation</a:t>
            </a:r>
            <a:r>
              <a:rPr lang="de-DE" sz="1400" dirty="0" smtClean="0"/>
              <a:t>.</a:t>
            </a:r>
          </a:p>
        </p:txBody>
      </p:sp>
      <p:sp>
        <p:nvSpPr>
          <p:cNvPr id="17" name="Foliennummernplatzhalter 27"/>
          <p:cNvSpPr txBox="1">
            <a:spLocks/>
          </p:cNvSpPr>
          <p:nvPr/>
        </p:nvSpPr>
        <p:spPr>
          <a:xfrm>
            <a:off x="6553200" y="6528871"/>
            <a:ext cx="2124075" cy="329130"/>
          </a:xfrm>
          <a:prstGeom prst="rect">
            <a:avLst/>
          </a:prstGeom>
        </p:spPr>
        <p:txBody>
          <a:bodyPr vert="horz"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chemeClr val="tx1"/>
                </a:solidFill>
                <a:effectLst/>
                <a:uLnTx/>
                <a:uFillTx/>
                <a:latin typeface="+mn-lt"/>
                <a:ea typeface="+mn-ea"/>
                <a:cs typeface="+mn-cs"/>
              </a:rPr>
              <a:t>Slide </a:t>
            </a:r>
            <a:fld id="{AA807A42-CF27-4B84-8583-18EBE418342E}" type="slidenum">
              <a:rPr kumimoji="0" lang="de-DE"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sz="9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xmlns="" val="2371434040"/>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L-Form 6"/>
          <p:cNvSpPr/>
          <p:nvPr/>
        </p:nvSpPr>
        <p:spPr>
          <a:xfrm rot="10800000">
            <a:off x="3695004" y="1722626"/>
            <a:ext cx="4942096" cy="3002563"/>
          </a:xfrm>
          <a:custGeom>
            <a:avLst/>
            <a:gdLst/>
            <a:ahLst/>
            <a:cxnLst/>
            <a:rect l="l" t="t" r="r" b="b"/>
            <a:pathLst>
              <a:path w="4942096" h="4010410">
                <a:moveTo>
                  <a:pt x="4126223" y="4010410"/>
                </a:moveTo>
                <a:lnTo>
                  <a:pt x="0" y="4010410"/>
                </a:lnTo>
                <a:lnTo>
                  <a:pt x="0" y="0"/>
                </a:lnTo>
                <a:lnTo>
                  <a:pt x="2757718" y="0"/>
                </a:lnTo>
                <a:lnTo>
                  <a:pt x="2757718" y="2251925"/>
                </a:lnTo>
                <a:lnTo>
                  <a:pt x="4104882" y="2251925"/>
                </a:lnTo>
                <a:lnTo>
                  <a:pt x="4114654" y="2692130"/>
                </a:lnTo>
                <a:cubicBezTo>
                  <a:pt x="4265191" y="2841548"/>
                  <a:pt x="4952855" y="2367778"/>
                  <a:pt x="4941969" y="3121271"/>
                </a:cubicBezTo>
                <a:cubicBezTo>
                  <a:pt x="4941969" y="3834845"/>
                  <a:pt x="4265191" y="3350661"/>
                  <a:pt x="4114654" y="3500514"/>
                </a:cubicBezTo>
                <a:lnTo>
                  <a:pt x="4104058" y="4010409"/>
                </a:lnTo>
                <a:lnTo>
                  <a:pt x="4126223" y="4010409"/>
                </a:lnTo>
                <a:close/>
              </a:path>
            </a:pathLst>
          </a:custGeom>
          <a:noFill/>
          <a:ln w="5080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extplatzhalter 1"/>
          <p:cNvSpPr>
            <a:spLocks noGrp="1"/>
          </p:cNvSpPr>
          <p:nvPr>
            <p:ph type="body" sz="quarter" idx="13"/>
          </p:nvPr>
        </p:nvSpPr>
        <p:spPr/>
        <p:txBody>
          <a:bodyPr/>
          <a:lstStyle/>
          <a:p>
            <a:r>
              <a:rPr lang="de-DE" smtClean="0"/>
              <a:t>Merging of product and </a:t>
            </a:r>
          </a:p>
          <a:p>
            <a:r>
              <a:rPr lang="de-DE" smtClean="0"/>
              <a:t>process maturity towards </a:t>
            </a:r>
          </a:p>
          <a:p>
            <a:r>
              <a:rPr lang="de-DE" smtClean="0"/>
              <a:t>Overall maturity. </a:t>
            </a:r>
          </a:p>
        </p:txBody>
      </p:sp>
      <p:sp>
        <p:nvSpPr>
          <p:cNvPr id="51" name="Fußzeilenplatzhalter 2"/>
          <p:cNvSpPr>
            <a:spLocks noGrp="1"/>
          </p:cNvSpPr>
          <p:nvPr>
            <p:ph type="ftr" sz="quarter" idx="3"/>
          </p:nvPr>
        </p:nvSpPr>
        <p:spPr>
          <a:xfrm>
            <a:off x="468312" y="6526233"/>
            <a:ext cx="4247703" cy="331787"/>
          </a:xfrm>
        </p:spPr>
        <p:txBody>
          <a:bodyPr/>
          <a:lstStyle/>
          <a:p>
            <a:pPr algn="l"/>
            <a:r>
              <a:rPr lang="de-DE" smtClean="0">
                <a:solidFill>
                  <a:prstClr val="black"/>
                </a:solidFill>
              </a:rPr>
              <a:t>Maturity Level Management Total Vehicle, Communication, Version 4.2</a:t>
            </a:r>
            <a:endParaRPr lang="de-DE" dirty="0">
              <a:solidFill>
                <a:prstClr val="black"/>
              </a:solidFill>
            </a:endParaRPr>
          </a:p>
        </p:txBody>
      </p:sp>
      <p:sp>
        <p:nvSpPr>
          <p:cNvPr id="39" name="Textfeld 38"/>
          <p:cNvSpPr txBox="1"/>
          <p:nvPr/>
        </p:nvSpPr>
        <p:spPr>
          <a:xfrm>
            <a:off x="6434686" y="2111143"/>
            <a:ext cx="1656184" cy="276999"/>
          </a:xfrm>
          <a:prstGeom prst="rect">
            <a:avLst/>
          </a:prstGeom>
          <a:noFill/>
        </p:spPr>
        <p:txBody>
          <a:bodyPr wrap="square" rtlCol="0" anchor="ctr">
            <a:spAutoFit/>
          </a:bodyPr>
          <a:lstStyle/>
          <a:p>
            <a:pPr algn="ctr"/>
            <a:endParaRPr lang="de-DE" sz="1200" b="1" dirty="0"/>
          </a:p>
        </p:txBody>
      </p:sp>
      <p:sp>
        <p:nvSpPr>
          <p:cNvPr id="45" name="Textfeld 44"/>
          <p:cNvSpPr txBox="1"/>
          <p:nvPr/>
        </p:nvSpPr>
        <p:spPr>
          <a:xfrm>
            <a:off x="486594" y="1718649"/>
            <a:ext cx="2069182" cy="400110"/>
          </a:xfrm>
          <a:prstGeom prst="rect">
            <a:avLst/>
          </a:prstGeom>
          <a:noFill/>
        </p:spPr>
        <p:txBody>
          <a:bodyPr wrap="square" rtlCol="0">
            <a:spAutoFit/>
          </a:bodyPr>
          <a:lstStyle/>
          <a:p>
            <a:r>
              <a:rPr lang="de-DE" sz="2000" b="1" smtClean="0">
                <a:solidFill>
                  <a:srgbClr val="5678A9">
                    <a:lumMod val="50000"/>
                  </a:srgbClr>
                </a:solidFill>
              </a:rPr>
              <a:t>Product maturity</a:t>
            </a:r>
            <a:endParaRPr lang="de-DE" sz="2000" b="1" dirty="0">
              <a:solidFill>
                <a:srgbClr val="5678A9">
                  <a:lumMod val="50000"/>
                </a:srgbClr>
              </a:solidFill>
            </a:endParaRPr>
          </a:p>
        </p:txBody>
      </p:sp>
      <p:sp>
        <p:nvSpPr>
          <p:cNvPr id="46" name="Textfeld 45"/>
          <p:cNvSpPr txBox="1"/>
          <p:nvPr/>
        </p:nvSpPr>
        <p:spPr>
          <a:xfrm>
            <a:off x="6236810" y="1718649"/>
            <a:ext cx="2433995" cy="400110"/>
          </a:xfrm>
          <a:prstGeom prst="rect">
            <a:avLst/>
          </a:prstGeom>
          <a:noFill/>
        </p:spPr>
        <p:txBody>
          <a:bodyPr wrap="square" rtlCol="0">
            <a:spAutoFit/>
          </a:bodyPr>
          <a:lstStyle/>
          <a:p>
            <a:pPr algn="r"/>
            <a:r>
              <a:rPr lang="de-DE" sz="2000" b="1" smtClean="0">
                <a:solidFill>
                  <a:schemeClr val="bg2">
                    <a:lumMod val="60000"/>
                    <a:lumOff val="40000"/>
                  </a:schemeClr>
                </a:solidFill>
              </a:rPr>
              <a:t>Process maturity</a:t>
            </a:r>
            <a:endParaRPr lang="de-DE" sz="2000" b="1" dirty="0">
              <a:solidFill>
                <a:schemeClr val="bg2">
                  <a:lumMod val="60000"/>
                  <a:lumOff val="40000"/>
                </a:schemeClr>
              </a:solidFill>
            </a:endParaRPr>
          </a:p>
        </p:txBody>
      </p:sp>
      <p:grpSp>
        <p:nvGrpSpPr>
          <p:cNvPr id="4" name="Gruppieren 14"/>
          <p:cNvGrpSpPr/>
          <p:nvPr/>
        </p:nvGrpSpPr>
        <p:grpSpPr>
          <a:xfrm>
            <a:off x="3412933" y="3159081"/>
            <a:ext cx="2304000" cy="1425794"/>
            <a:chOff x="3412933" y="3271219"/>
            <a:chExt cx="2304256" cy="1425794"/>
          </a:xfrm>
        </p:grpSpPr>
        <p:sp>
          <p:nvSpPr>
            <p:cNvPr id="67" name="Rechteck 66"/>
            <p:cNvSpPr/>
            <p:nvPr/>
          </p:nvSpPr>
          <p:spPr>
            <a:xfrm>
              <a:off x="3412933" y="3271219"/>
              <a:ext cx="2304256" cy="360000"/>
            </a:xfrm>
            <a:prstGeom prst="rect">
              <a:avLst/>
            </a:prstGeom>
            <a:solidFill>
              <a:schemeClr val="bg2">
                <a:lumMod val="50000"/>
              </a:schemeClr>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a:r>
                <a:rPr lang="de-DE" sz="1200" smtClean="0">
                  <a:solidFill>
                    <a:prstClr val="white"/>
                  </a:solidFill>
                </a:rPr>
                <a:t>RGM overall maturity</a:t>
              </a:r>
              <a:endParaRPr lang="de-DE" sz="1200" dirty="0">
                <a:solidFill>
                  <a:prstClr val="white"/>
                </a:solidFill>
              </a:endParaRPr>
            </a:p>
          </p:txBody>
        </p:sp>
        <p:sp>
          <p:nvSpPr>
            <p:cNvPr id="68" name="Rechteck 67"/>
            <p:cNvSpPr/>
            <p:nvPr/>
          </p:nvSpPr>
          <p:spPr>
            <a:xfrm>
              <a:off x="3412933" y="3632052"/>
              <a:ext cx="2304256" cy="1064961"/>
            </a:xfrm>
            <a:prstGeom prst="rect">
              <a:avLst/>
            </a:prstGeom>
            <a:solidFill>
              <a:schemeClr val="bg1"/>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indent="-85725">
                <a:buFont typeface="Arial" pitchFamily="34" charset="0"/>
                <a:buChar char="•"/>
              </a:pPr>
              <a:r>
                <a:rPr lang="de-DE" sz="1000" smtClean="0">
                  <a:solidFill>
                    <a:prstClr val="black"/>
                  </a:solidFill>
                </a:rPr>
                <a:t>Aggregation of product and process maturity towards overall maturity. </a:t>
              </a:r>
            </a:p>
          </p:txBody>
        </p:sp>
      </p:grpSp>
      <p:sp>
        <p:nvSpPr>
          <p:cNvPr id="73" name="Gleichschenkliges Dreieck 72"/>
          <p:cNvSpPr/>
          <p:nvPr/>
        </p:nvSpPr>
        <p:spPr>
          <a:xfrm rot="10800000">
            <a:off x="3476316" y="4635812"/>
            <a:ext cx="2160240" cy="216024"/>
          </a:xfrm>
          <a:prstGeom prst="triangle">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61" name="Picture 2" descr="https://wcm2.bmwgroup.net/rc_edit/rc/Entwicklung/imagepool/000_E-Themen/EMT_for_ONE/EMTforONE.gif"/>
          <p:cNvPicPr>
            <a:picLocks noChangeAspect="1" noChangeArrowheads="1"/>
          </p:cNvPicPr>
          <p:nvPr/>
        </p:nvPicPr>
        <p:blipFill>
          <a:blip r:embed="rId3" cstate="email">
            <a:extLst>
              <a:ext uri="{28A0092B-C50C-407E-A947-70E740481C1C}">
                <a14:useLocalDpi xmlns="" xmlns:a14="http://schemas.microsoft.com/office/drawing/2010/main"/>
              </a:ext>
            </a:extLst>
          </a:blip>
          <a:srcRect/>
          <a:stretch>
            <a:fillRect/>
          </a:stretch>
        </p:blipFill>
        <p:spPr bwMode="auto">
          <a:xfrm>
            <a:off x="2717847" y="2184809"/>
            <a:ext cx="339126" cy="324000"/>
          </a:xfrm>
          <a:prstGeom prst="rect">
            <a:avLst/>
          </a:prstGeom>
          <a:noFill/>
        </p:spPr>
      </p:pic>
      <p:grpSp>
        <p:nvGrpSpPr>
          <p:cNvPr id="5" name="Gruppieren 11"/>
          <p:cNvGrpSpPr/>
          <p:nvPr/>
        </p:nvGrpSpPr>
        <p:grpSpPr>
          <a:xfrm>
            <a:off x="666094" y="2164734"/>
            <a:ext cx="2411833" cy="1728192"/>
            <a:chOff x="725886" y="2276872"/>
            <a:chExt cx="2304256" cy="1728192"/>
          </a:xfrm>
        </p:grpSpPr>
        <p:sp>
          <p:nvSpPr>
            <p:cNvPr id="50" name="Rechteck 49"/>
            <p:cNvSpPr/>
            <p:nvPr/>
          </p:nvSpPr>
          <p:spPr>
            <a:xfrm>
              <a:off x="725886" y="2276872"/>
              <a:ext cx="2304256" cy="360000"/>
            </a:xfrm>
            <a:prstGeom prst="rect">
              <a:avLst/>
            </a:prstGeom>
            <a:solidFill>
              <a:schemeClr val="bg2">
                <a:lumMod val="50000"/>
              </a:schemeClr>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a:r>
                <a:rPr lang="de-DE" sz="1200" smtClean="0">
                  <a:solidFill>
                    <a:prstClr val="white"/>
                  </a:solidFill>
                </a:rPr>
                <a:t>RGM product maturity</a:t>
              </a:r>
              <a:endParaRPr lang="de-DE" sz="1200" dirty="0">
                <a:solidFill>
                  <a:prstClr val="white"/>
                </a:solidFill>
              </a:endParaRPr>
            </a:p>
          </p:txBody>
        </p:sp>
        <p:sp>
          <p:nvSpPr>
            <p:cNvPr id="54" name="Rechteck 53"/>
            <p:cNvSpPr/>
            <p:nvPr/>
          </p:nvSpPr>
          <p:spPr>
            <a:xfrm>
              <a:off x="725886" y="2637705"/>
              <a:ext cx="2304256" cy="1367359"/>
            </a:xfrm>
            <a:prstGeom prst="rect">
              <a:avLst/>
            </a:prstGeom>
            <a:solidFill>
              <a:schemeClr val="bg1"/>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a:r>
                <a:rPr lang="de-DE" sz="1200" dirty="0" smtClean="0">
                  <a:solidFill>
                    <a:prstClr val="white"/>
                  </a:solidFill>
                </a:rPr>
                <a:t>QMT SOLL-PROZESS</a:t>
              </a:r>
              <a:endParaRPr lang="de-DE" sz="1200" dirty="0">
                <a:solidFill>
                  <a:prstClr val="white"/>
                </a:solidFill>
              </a:endParaRPr>
            </a:p>
          </p:txBody>
        </p:sp>
      </p:grpSp>
      <p:grpSp>
        <p:nvGrpSpPr>
          <p:cNvPr id="6" name="Gruppieren 62"/>
          <p:cNvGrpSpPr/>
          <p:nvPr/>
        </p:nvGrpSpPr>
        <p:grpSpPr>
          <a:xfrm>
            <a:off x="2379905" y="2164337"/>
            <a:ext cx="697323" cy="376096"/>
            <a:chOff x="675021" y="2636912"/>
            <a:chExt cx="1565137" cy="972116"/>
          </a:xfrm>
        </p:grpSpPr>
        <p:pic>
          <p:nvPicPr>
            <p:cNvPr id="64" name="Grafik 63" descr="rest.png"/>
            <p:cNvPicPr>
              <a:picLocks noChangeAspect="1"/>
            </p:cNvPicPr>
            <p:nvPr/>
          </p:nvPicPr>
          <p:blipFill>
            <a:blip r:embed="rId4" cstate="print">
              <a:clrChange>
                <a:clrFrom>
                  <a:srgbClr val="FFFFFF"/>
                </a:clrFrom>
                <a:clrTo>
                  <a:srgbClr val="FFFFFF">
                    <a:alpha val="0"/>
                  </a:srgbClr>
                </a:clrTo>
              </a:clrChange>
            </a:blip>
            <a:srcRect/>
            <a:stretch>
              <a:fillRect/>
            </a:stretch>
          </p:blipFill>
          <p:spPr>
            <a:xfrm>
              <a:off x="834556" y="2636912"/>
              <a:ext cx="1405602" cy="972116"/>
            </a:xfrm>
            <a:prstGeom prst="rect">
              <a:avLst/>
            </a:prstGeom>
          </p:spPr>
        </p:pic>
        <p:pic>
          <p:nvPicPr>
            <p:cNvPr id="65" name="Grafik 64" descr="ea_umfang.png"/>
            <p:cNvPicPr>
              <a:picLocks noChangeAspect="1"/>
            </p:cNvPicPr>
            <p:nvPr/>
          </p:nvPicPr>
          <p:blipFill>
            <a:blip r:embed="rId5" cstate="print">
              <a:clrChange>
                <a:clrFrom>
                  <a:srgbClr val="FFFFFF"/>
                </a:clrFrom>
                <a:clrTo>
                  <a:srgbClr val="FFFFFF">
                    <a:alpha val="0"/>
                  </a:srgbClr>
                </a:clrTo>
              </a:clrChange>
              <a:grayscl/>
            </a:blip>
            <a:srcRect/>
            <a:stretch>
              <a:fillRect/>
            </a:stretch>
          </p:blipFill>
          <p:spPr>
            <a:xfrm>
              <a:off x="675021" y="2699108"/>
              <a:ext cx="1516831" cy="897149"/>
            </a:xfrm>
            <a:prstGeom prst="rect">
              <a:avLst/>
            </a:prstGeom>
          </p:spPr>
        </p:pic>
      </p:grpSp>
      <p:sp>
        <p:nvSpPr>
          <p:cNvPr id="82" name="L-Form 40"/>
          <p:cNvSpPr/>
          <p:nvPr/>
        </p:nvSpPr>
        <p:spPr>
          <a:xfrm>
            <a:off x="483852" y="1722843"/>
            <a:ext cx="4049196" cy="3002314"/>
          </a:xfrm>
          <a:custGeom>
            <a:avLst/>
            <a:gdLst/>
            <a:ahLst/>
            <a:cxnLst/>
            <a:rect l="l" t="t" r="r" b="b"/>
            <a:pathLst>
              <a:path w="4049196" h="4374349">
                <a:moveTo>
                  <a:pt x="8391" y="0"/>
                </a:moveTo>
                <a:lnTo>
                  <a:pt x="4049196" y="0"/>
                </a:lnTo>
                <a:lnTo>
                  <a:pt x="4038600" y="556167"/>
                </a:lnTo>
                <a:cubicBezTo>
                  <a:pt x="3888063" y="719619"/>
                  <a:pt x="3211285" y="191496"/>
                  <a:pt x="3211285" y="969825"/>
                </a:cubicBezTo>
                <a:cubicBezTo>
                  <a:pt x="3200399" y="1791696"/>
                  <a:pt x="3888063" y="1274933"/>
                  <a:pt x="4038600" y="1437910"/>
                </a:cubicBezTo>
                <a:lnTo>
                  <a:pt x="4048456" y="1922183"/>
                </a:lnTo>
                <a:lnTo>
                  <a:pt x="2761902" y="1922183"/>
                </a:lnTo>
                <a:lnTo>
                  <a:pt x="2761902" y="4374349"/>
                </a:lnTo>
                <a:lnTo>
                  <a:pt x="8391" y="4374349"/>
                </a:lnTo>
                <a:cubicBezTo>
                  <a:pt x="9223" y="3351993"/>
                  <a:pt x="10054" y="2329638"/>
                  <a:pt x="10886" y="1307282"/>
                </a:cubicBezTo>
                <a:lnTo>
                  <a:pt x="0" y="850082"/>
                </a:lnTo>
                <a:close/>
              </a:path>
            </a:pathLst>
          </a:custGeom>
          <a:noFill/>
          <a:ln w="50800">
            <a:solidFill>
              <a:schemeClr val="bg2">
                <a:lumMod val="75000"/>
              </a:schemeClr>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3" name="Nach oben gebogener Pfeil 82"/>
          <p:cNvSpPr/>
          <p:nvPr/>
        </p:nvSpPr>
        <p:spPr>
          <a:xfrm rot="5400000">
            <a:off x="2422809" y="3713120"/>
            <a:ext cx="389093" cy="1591200"/>
          </a:xfrm>
          <a:prstGeom prst="bentUpArrow">
            <a:avLst>
              <a:gd name="adj1" fmla="val 17084"/>
              <a:gd name="adj2" fmla="val 24505"/>
              <a:gd name="adj3" fmla="val 25000"/>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4" name="Nach oben gebogener Pfeil 83"/>
          <p:cNvSpPr/>
          <p:nvPr/>
        </p:nvSpPr>
        <p:spPr>
          <a:xfrm rot="16200000" flipH="1">
            <a:off x="6318195" y="3713158"/>
            <a:ext cx="389147" cy="1591114"/>
          </a:xfrm>
          <a:prstGeom prst="bentUpArrow">
            <a:avLst>
              <a:gd name="adj1" fmla="val 17084"/>
              <a:gd name="adj2" fmla="val 24505"/>
              <a:gd name="adj3" fmla="val 25000"/>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7" name="Gruppieren 46"/>
          <p:cNvGrpSpPr/>
          <p:nvPr/>
        </p:nvGrpSpPr>
        <p:grpSpPr>
          <a:xfrm>
            <a:off x="6075088" y="2164337"/>
            <a:ext cx="2412000" cy="2160636"/>
            <a:chOff x="725726" y="2276872"/>
            <a:chExt cx="2304416" cy="2160636"/>
          </a:xfrm>
        </p:grpSpPr>
        <p:pic>
          <p:nvPicPr>
            <p:cNvPr id="48" name="Picture 2" descr="https://wcm2.bmwgroup.net/rc_edit/rc/Entwicklung/imagepool/000_E-Themen/EMT_for_ONE/EMTforONE.gif"/>
            <p:cNvPicPr>
              <a:picLocks noChangeAspect="1" noChangeArrowheads="1"/>
            </p:cNvPicPr>
            <p:nvPr/>
          </p:nvPicPr>
          <p:blipFill>
            <a:blip r:embed="rId3" cstate="email">
              <a:extLst>
                <a:ext uri="{28A0092B-C50C-407E-A947-70E740481C1C}">
                  <a14:useLocalDpi xmlns="" xmlns:a14="http://schemas.microsoft.com/office/drawing/2010/main"/>
                </a:ext>
              </a:extLst>
            </a:blip>
            <a:srcRect/>
            <a:stretch>
              <a:fillRect/>
            </a:stretch>
          </p:blipFill>
          <p:spPr bwMode="auto">
            <a:xfrm>
              <a:off x="2686144" y="2296947"/>
              <a:ext cx="324000" cy="324000"/>
            </a:xfrm>
            <a:prstGeom prst="rect">
              <a:avLst/>
            </a:prstGeom>
            <a:solidFill>
              <a:schemeClr val="bg1"/>
            </a:solidFill>
            <a:ln w="19050">
              <a:solidFill>
                <a:schemeClr val="bg2">
                  <a:lumMod val="50000"/>
                </a:schemeClr>
              </a:solidFill>
            </a:ln>
          </p:spPr>
        </p:pic>
        <p:grpSp>
          <p:nvGrpSpPr>
            <p:cNvPr id="8" name="Gruppieren 11"/>
            <p:cNvGrpSpPr/>
            <p:nvPr/>
          </p:nvGrpSpPr>
          <p:grpSpPr>
            <a:xfrm>
              <a:off x="725886" y="2276872"/>
              <a:ext cx="2304256" cy="1728192"/>
              <a:chOff x="725886" y="2276872"/>
              <a:chExt cx="2304256" cy="1728192"/>
            </a:xfrm>
          </p:grpSpPr>
          <p:sp>
            <p:nvSpPr>
              <p:cNvPr id="78" name="Rechteck 77"/>
              <p:cNvSpPr/>
              <p:nvPr/>
            </p:nvSpPr>
            <p:spPr>
              <a:xfrm>
                <a:off x="725886" y="2276872"/>
                <a:ext cx="2304256" cy="360000"/>
              </a:xfrm>
              <a:prstGeom prst="rect">
                <a:avLst/>
              </a:prstGeom>
              <a:solidFill>
                <a:schemeClr val="bg2">
                  <a:lumMod val="50000"/>
                </a:schemeClr>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a:r>
                  <a:rPr lang="de-DE" sz="1200" smtClean="0">
                    <a:solidFill>
                      <a:prstClr val="white"/>
                    </a:solidFill>
                  </a:rPr>
                  <a:t>RGM process maturity </a:t>
                </a:r>
                <a:endParaRPr lang="de-DE" sz="1200" dirty="0">
                  <a:solidFill>
                    <a:srgbClr val="FF0000"/>
                  </a:solidFill>
                </a:endParaRPr>
              </a:p>
            </p:txBody>
          </p:sp>
          <p:sp>
            <p:nvSpPr>
              <p:cNvPr id="85" name="Rechteck 84"/>
              <p:cNvSpPr/>
              <p:nvPr/>
            </p:nvSpPr>
            <p:spPr>
              <a:xfrm>
                <a:off x="725886" y="2637705"/>
                <a:ext cx="2304256" cy="1367359"/>
              </a:xfrm>
              <a:prstGeom prst="rect">
                <a:avLst/>
              </a:prstGeom>
              <a:no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a:r>
                  <a:rPr lang="de-DE" sz="1200" dirty="0" smtClean="0">
                    <a:solidFill>
                      <a:prstClr val="white"/>
                    </a:solidFill>
                  </a:rPr>
                  <a:t>QMT SOLL-PROZESS</a:t>
                </a:r>
                <a:endParaRPr lang="de-DE" sz="1200" dirty="0">
                  <a:solidFill>
                    <a:prstClr val="white"/>
                  </a:solidFill>
                </a:endParaRPr>
              </a:p>
            </p:txBody>
          </p:sp>
        </p:grpSp>
        <p:sp>
          <p:nvSpPr>
            <p:cNvPr id="59" name="Rechteck 58"/>
            <p:cNvSpPr/>
            <p:nvPr/>
          </p:nvSpPr>
          <p:spPr>
            <a:xfrm>
              <a:off x="725726" y="4005063"/>
              <a:ext cx="2304256" cy="432445"/>
            </a:xfrm>
            <a:prstGeom prst="rect">
              <a:avLst/>
            </a:prstGeom>
            <a:no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a:r>
                <a:rPr lang="de-DE" sz="1000" smtClean="0">
                  <a:solidFill>
                    <a:prstClr val="black"/>
                  </a:solidFill>
                </a:rPr>
                <a:t>Maturity verification of processes by documented processes by RG in RS.</a:t>
              </a:r>
              <a:endParaRPr lang="de-DE" sz="1000" dirty="0">
                <a:solidFill>
                  <a:schemeClr val="tx1"/>
                </a:solidFill>
              </a:endParaRPr>
            </a:p>
          </p:txBody>
        </p:sp>
      </p:grpSp>
      <p:pic>
        <p:nvPicPr>
          <p:cNvPr id="86" name="Picture 2"/>
          <p:cNvPicPr>
            <a:picLocks noChangeAspect="1" noChangeArrowheads="1"/>
          </p:cNvPicPr>
          <p:nvPr/>
        </p:nvPicPr>
        <p:blipFill>
          <a:blip r:embed="rId6" cstate="email">
            <a:extLst>
              <a:ext uri="{28A0092B-C50C-407E-A947-70E740481C1C}">
                <a14:useLocalDpi xmlns="" xmlns:a14="http://schemas.microsoft.com/office/drawing/2010/main"/>
              </a:ext>
            </a:extLst>
          </a:blip>
          <a:srcRect/>
          <a:stretch>
            <a:fillRect/>
          </a:stretch>
        </p:blipFill>
        <p:spPr bwMode="auto">
          <a:xfrm>
            <a:off x="7927505" y="2181635"/>
            <a:ext cx="551655" cy="332991"/>
          </a:xfrm>
          <a:prstGeom prst="rect">
            <a:avLst/>
          </a:prstGeom>
          <a:noFill/>
          <a:ln w="9525">
            <a:noFill/>
            <a:miter lim="800000"/>
            <a:headEnd/>
            <a:tailEnd/>
          </a:ln>
        </p:spPr>
      </p:pic>
      <p:pic>
        <p:nvPicPr>
          <p:cNvPr id="876546" name="Picture 2" descr="http://www.hannah-hoech-schule.net/wordpress/wp-content/uploads/2012/10/greenhopper-red-green-blue-as-single-team.jpg"/>
          <p:cNvPicPr>
            <a:picLocks noChangeAspect="1" noChangeArrowheads="1"/>
          </p:cNvPicPr>
          <p:nvPr/>
        </p:nvPicPr>
        <p:blipFill>
          <a:blip r:embed="rId7" cstate="print">
            <a:duotone>
              <a:schemeClr val="bg2">
                <a:shade val="45000"/>
                <a:satMod val="135000"/>
              </a:schemeClr>
              <a:prstClr val="white"/>
            </a:duotone>
          </a:blip>
          <a:srcRect/>
          <a:stretch>
            <a:fillRect/>
          </a:stretch>
        </p:blipFill>
        <p:spPr bwMode="auto">
          <a:xfrm>
            <a:off x="5298466" y="3187098"/>
            <a:ext cx="404813" cy="303610"/>
          </a:xfrm>
          <a:prstGeom prst="rect">
            <a:avLst/>
          </a:prstGeom>
          <a:noFill/>
        </p:spPr>
      </p:pic>
      <p:grpSp>
        <p:nvGrpSpPr>
          <p:cNvPr id="9" name="Gruppieren 62"/>
          <p:cNvGrpSpPr/>
          <p:nvPr/>
        </p:nvGrpSpPr>
        <p:grpSpPr>
          <a:xfrm>
            <a:off x="1934756" y="4916471"/>
            <a:ext cx="5275685" cy="1608154"/>
            <a:chOff x="1960611" y="4916471"/>
            <a:chExt cx="5275685" cy="1608154"/>
          </a:xfrm>
        </p:grpSpPr>
        <p:sp>
          <p:nvSpPr>
            <p:cNvPr id="74" name="Rechteck 73"/>
            <p:cNvSpPr/>
            <p:nvPr/>
          </p:nvSpPr>
          <p:spPr>
            <a:xfrm>
              <a:off x="1960611" y="4916471"/>
              <a:ext cx="5274754" cy="360000"/>
            </a:xfrm>
            <a:prstGeom prst="rect">
              <a:avLst/>
            </a:prstGeom>
            <a:solidFill>
              <a:schemeClr val="bg2">
                <a:lumMod val="50000"/>
              </a:schemeClr>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a:r>
                <a:rPr lang="de-DE" sz="1200" dirty="0" smtClean="0">
                  <a:solidFill>
                    <a:prstClr val="white"/>
                  </a:solidFill>
                </a:rPr>
                <a:t>RGM </a:t>
              </a:r>
              <a:r>
                <a:rPr lang="de-DE" sz="1200" dirty="0" err="1" smtClean="0">
                  <a:solidFill>
                    <a:prstClr val="white"/>
                  </a:solidFill>
                </a:rPr>
                <a:t>maturity</a:t>
              </a:r>
              <a:r>
                <a:rPr lang="de-DE" sz="1200" dirty="0" smtClean="0">
                  <a:solidFill>
                    <a:prstClr val="white"/>
                  </a:solidFill>
                </a:rPr>
                <a:t> </a:t>
              </a:r>
              <a:r>
                <a:rPr lang="de-DE" sz="1200" dirty="0" err="1" smtClean="0">
                  <a:solidFill>
                    <a:prstClr val="white"/>
                  </a:solidFill>
                </a:rPr>
                <a:t>index</a:t>
              </a:r>
              <a:r>
                <a:rPr lang="de-DE" sz="1200" dirty="0" smtClean="0">
                  <a:solidFill>
                    <a:prstClr val="white"/>
                  </a:solidFill>
                </a:rPr>
                <a:t> </a:t>
              </a:r>
              <a:r>
                <a:rPr lang="de-DE" sz="1200" dirty="0" err="1" smtClean="0">
                  <a:solidFill>
                    <a:prstClr val="white"/>
                  </a:solidFill>
                </a:rPr>
                <a:t>for</a:t>
              </a:r>
              <a:r>
                <a:rPr lang="de-DE" sz="1200" dirty="0" smtClean="0">
                  <a:solidFill>
                    <a:prstClr val="white"/>
                  </a:solidFill>
                </a:rPr>
                <a:t> all </a:t>
              </a:r>
              <a:r>
                <a:rPr lang="de-DE" sz="1200" dirty="0" err="1" smtClean="0">
                  <a:solidFill>
                    <a:prstClr val="white"/>
                  </a:solidFill>
                </a:rPr>
                <a:t>selected</a:t>
              </a:r>
              <a:r>
                <a:rPr lang="de-DE" sz="1200" dirty="0" smtClean="0">
                  <a:solidFill>
                    <a:prstClr val="white"/>
                  </a:solidFill>
                </a:rPr>
                <a:t> </a:t>
              </a:r>
              <a:r>
                <a:rPr lang="de-DE" sz="1200" dirty="0" err="1" smtClean="0">
                  <a:solidFill>
                    <a:prstClr val="white"/>
                  </a:solidFill>
                </a:rPr>
                <a:t>maturity</a:t>
              </a:r>
              <a:r>
                <a:rPr lang="de-DE" sz="1200" dirty="0" smtClean="0">
                  <a:solidFill>
                    <a:prstClr val="white"/>
                  </a:solidFill>
                </a:rPr>
                <a:t> </a:t>
              </a:r>
              <a:r>
                <a:rPr lang="de-DE" sz="1200" dirty="0" err="1" smtClean="0">
                  <a:solidFill>
                    <a:prstClr val="white"/>
                  </a:solidFill>
                </a:rPr>
                <a:t>elements</a:t>
              </a:r>
              <a:endParaRPr lang="de-DE" sz="1200" dirty="0">
                <a:solidFill>
                  <a:prstClr val="white"/>
                </a:solidFill>
              </a:endParaRPr>
            </a:p>
          </p:txBody>
        </p:sp>
        <p:pic>
          <p:nvPicPr>
            <p:cNvPr id="60" name="Picture 48"/>
            <p:cNvPicPr>
              <a:picLocks noChangeAspect="1" noChangeArrowheads="1"/>
            </p:cNvPicPr>
            <p:nvPr/>
          </p:nvPicPr>
          <p:blipFill>
            <a:blip r:embed="rId8" cstate="screen">
              <a:duotone>
                <a:schemeClr val="bg2">
                  <a:shade val="45000"/>
                  <a:satMod val="135000"/>
                </a:schemeClr>
                <a:prstClr val="white"/>
              </a:duotone>
              <a:extLst>
                <a:ext uri="{28A0092B-C50C-407E-A947-70E740481C1C}">
                  <a14:useLocalDpi xmlns="" xmlns:a14="http://schemas.microsoft.com/office/drawing/2010/main"/>
                </a:ext>
              </a:extLst>
            </a:blip>
            <a:stretch>
              <a:fillRect/>
            </a:stretch>
          </p:blipFill>
          <p:spPr bwMode="auto">
            <a:xfrm>
              <a:off x="6804248" y="4935082"/>
              <a:ext cx="411796" cy="339527"/>
            </a:xfrm>
            <a:prstGeom prst="rect">
              <a:avLst/>
            </a:prstGeom>
            <a:noFill/>
          </p:spPr>
        </p:pic>
        <p:sp>
          <p:nvSpPr>
            <p:cNvPr id="62" name="Rechteck 61"/>
            <p:cNvSpPr/>
            <p:nvPr/>
          </p:nvSpPr>
          <p:spPr>
            <a:xfrm>
              <a:off x="1961262" y="5285758"/>
              <a:ext cx="5275034" cy="1238867"/>
            </a:xfrm>
            <a:prstGeom prst="rect">
              <a:avLst/>
            </a:prstGeom>
            <a:no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698625" indent="-85725">
                <a:buFont typeface="Arial" pitchFamily="34" charset="0"/>
                <a:buChar char="•"/>
              </a:pPr>
              <a:r>
                <a:rPr lang="de-DE" sz="1000" smtClean="0">
                  <a:solidFill>
                    <a:schemeClr val="tx1"/>
                  </a:solidFill>
                </a:rPr>
                <a:t>Product and process maturity are merged into maturity index on total vehicle level. </a:t>
              </a:r>
              <a:endParaRPr lang="de-DE" sz="1000" dirty="0" smtClean="0">
                <a:solidFill>
                  <a:schemeClr val="tx1"/>
                </a:solidFill>
              </a:endParaRPr>
            </a:p>
            <a:p>
              <a:pPr marL="1698625" indent="-85725">
                <a:buFont typeface="Arial" pitchFamily="34" charset="0"/>
                <a:buChar char="•"/>
              </a:pPr>
              <a:r>
                <a:rPr lang="de-DE" sz="1000" smtClean="0">
                  <a:solidFill>
                    <a:schemeClr val="tx1"/>
                  </a:solidFill>
                </a:rPr>
                <a:t>The view on total vehicle is based on five process chains. </a:t>
              </a:r>
              <a:endParaRPr lang="de-DE" sz="1000" dirty="0" smtClean="0">
                <a:solidFill>
                  <a:schemeClr val="tx1"/>
                </a:solidFill>
              </a:endParaRPr>
            </a:p>
            <a:p>
              <a:pPr marL="1698625" indent="-85725">
                <a:buFont typeface="Arial" pitchFamily="34" charset="0"/>
                <a:buChar char="•"/>
              </a:pPr>
              <a:r>
                <a:rPr lang="de-DE" sz="1000" smtClean="0">
                  <a:solidFill>
                    <a:schemeClr val="tx1"/>
                  </a:solidFill>
                </a:rPr>
                <a:t>Maturity of process chains is derived from maturity of features, functions and modules. </a:t>
              </a:r>
              <a:endParaRPr lang="de-DE" sz="1000" dirty="0">
                <a:solidFill>
                  <a:schemeClr val="tx1"/>
                </a:solidFill>
              </a:endParaRPr>
            </a:p>
          </p:txBody>
        </p:sp>
      </p:grpSp>
      <p:pic>
        <p:nvPicPr>
          <p:cNvPr id="876547" name="Picture 3"/>
          <p:cNvPicPr>
            <a:picLocks noChangeAspect="1" noChangeArrowheads="1"/>
          </p:cNvPicPr>
          <p:nvPr/>
        </p:nvPicPr>
        <p:blipFill>
          <a:blip r:embed="rId9" cstate="print"/>
          <a:srcRect/>
          <a:stretch>
            <a:fillRect/>
          </a:stretch>
        </p:blipFill>
        <p:spPr bwMode="auto">
          <a:xfrm>
            <a:off x="1968461" y="5335355"/>
            <a:ext cx="1548462" cy="1128933"/>
          </a:xfrm>
          <a:prstGeom prst="rect">
            <a:avLst/>
          </a:prstGeom>
          <a:noFill/>
          <a:ln w="9525">
            <a:noFill/>
            <a:miter lim="800000"/>
            <a:headEnd/>
            <a:tailEnd/>
          </a:ln>
          <a:effectLst/>
        </p:spPr>
      </p:pic>
      <p:pic>
        <p:nvPicPr>
          <p:cNvPr id="70" name="Picture 1"/>
          <p:cNvPicPr>
            <a:picLocks noChangeAspect="1" noChangeArrowheads="1"/>
          </p:cNvPicPr>
          <p:nvPr/>
        </p:nvPicPr>
        <p:blipFill>
          <a:blip r:embed="rId10" cstate="print"/>
          <a:srcRect/>
          <a:stretch>
            <a:fillRect/>
          </a:stretch>
        </p:blipFill>
        <p:spPr bwMode="auto">
          <a:xfrm>
            <a:off x="721072" y="2628332"/>
            <a:ext cx="2301288" cy="1174857"/>
          </a:xfrm>
          <a:prstGeom prst="rect">
            <a:avLst/>
          </a:prstGeom>
          <a:noFill/>
          <a:ln w="12700">
            <a:noFill/>
            <a:miter lim="800000"/>
            <a:headEnd/>
            <a:tailEnd/>
          </a:ln>
        </p:spPr>
      </p:pic>
      <p:pic>
        <p:nvPicPr>
          <p:cNvPr id="3" name="Picture 2"/>
          <p:cNvPicPr>
            <a:picLocks noChangeAspect="1" noChangeArrowheads="1"/>
          </p:cNvPicPr>
          <p:nvPr/>
        </p:nvPicPr>
        <p:blipFill>
          <a:blip r:embed="rId11" cstate="print"/>
          <a:srcRect/>
          <a:stretch>
            <a:fillRect/>
          </a:stretch>
        </p:blipFill>
        <p:spPr bwMode="auto">
          <a:xfrm>
            <a:off x="6236810" y="2564950"/>
            <a:ext cx="2123728" cy="1266119"/>
          </a:xfrm>
          <a:prstGeom prst="rect">
            <a:avLst/>
          </a:prstGeom>
          <a:noFill/>
          <a:ln w="9525">
            <a:noFill/>
            <a:miter lim="800000"/>
            <a:headEnd/>
            <a:tailEnd/>
          </a:ln>
        </p:spPr>
      </p:pic>
      <p:sp>
        <p:nvSpPr>
          <p:cNvPr id="71" name="Rechteck 70"/>
          <p:cNvSpPr/>
          <p:nvPr/>
        </p:nvSpPr>
        <p:spPr>
          <a:xfrm>
            <a:off x="665927" y="3892926"/>
            <a:ext cx="2411833" cy="432048"/>
          </a:xfrm>
          <a:prstGeom prst="rect">
            <a:avLst/>
          </a:prstGeom>
          <a:noFill/>
          <a:ln w="190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a:r>
              <a:rPr lang="de-DE" sz="1000" smtClean="0">
                <a:solidFill>
                  <a:prstClr val="black"/>
                </a:solidFill>
              </a:rPr>
              <a:t>Maturity verification of products by maturity audits in RS. </a:t>
            </a:r>
            <a:endParaRPr lang="de-DE" sz="1000" dirty="0">
              <a:solidFill>
                <a:prstClr val="black"/>
              </a:solidFill>
            </a:endParaRPr>
          </a:p>
        </p:txBody>
      </p:sp>
      <p:sp>
        <p:nvSpPr>
          <p:cNvPr id="42" name="Foliennummernplatzhalter 27"/>
          <p:cNvSpPr txBox="1">
            <a:spLocks/>
          </p:cNvSpPr>
          <p:nvPr/>
        </p:nvSpPr>
        <p:spPr>
          <a:xfrm>
            <a:off x="6553200" y="6528871"/>
            <a:ext cx="2124075" cy="329130"/>
          </a:xfrm>
          <a:prstGeom prst="rect">
            <a:avLst/>
          </a:prstGeom>
        </p:spPr>
        <p:txBody>
          <a:bodyPr vert="horz"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chemeClr val="tx1"/>
                </a:solidFill>
                <a:effectLst/>
                <a:uLnTx/>
                <a:uFillTx/>
                <a:latin typeface="+mn-lt"/>
                <a:ea typeface="+mn-ea"/>
                <a:cs typeface="+mn-cs"/>
              </a:rPr>
              <a:t>Slide </a:t>
            </a:r>
            <a:fld id="{AA807A42-CF27-4B84-8583-18EBE418342E}" type="slidenum">
              <a:rPr kumimoji="0" lang="de-DE"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9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 xmlns:p14="http://schemas.microsoft.com/office/powerpoint/2010/main" val="341434870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sz="quarter" idx="13"/>
          </p:nvPr>
        </p:nvSpPr>
        <p:spPr>
          <a:xfrm>
            <a:off x="459686" y="403226"/>
            <a:ext cx="8288777" cy="432798"/>
          </a:xfrm>
        </p:spPr>
        <p:txBody>
          <a:bodyPr/>
          <a:lstStyle/>
          <a:p>
            <a:r>
              <a:rPr lang="de-DE" dirty="0" err="1" smtClean="0"/>
              <a:t>REPorting</a:t>
            </a:r>
            <a:r>
              <a:rPr lang="de-DE" dirty="0" smtClean="0"/>
              <a:t> per </a:t>
            </a:r>
            <a:r>
              <a:rPr lang="de-DE" dirty="0" err="1" smtClean="0"/>
              <a:t>maturity</a:t>
            </a:r>
            <a:r>
              <a:rPr lang="de-DE" dirty="0" smtClean="0"/>
              <a:t> </a:t>
            </a:r>
            <a:r>
              <a:rPr lang="de-DE" dirty="0" err="1" smtClean="0"/>
              <a:t>step</a:t>
            </a:r>
            <a:r>
              <a:rPr lang="de-DE" dirty="0" smtClean="0"/>
              <a:t> </a:t>
            </a:r>
            <a:r>
              <a:rPr lang="de-DE" dirty="0" err="1" smtClean="0"/>
              <a:t>is</a:t>
            </a:r>
            <a:r>
              <a:rPr lang="de-DE" dirty="0" smtClean="0"/>
              <a:t> </a:t>
            </a:r>
            <a:r>
              <a:rPr lang="de-DE" dirty="0" err="1" smtClean="0"/>
              <a:t>based</a:t>
            </a:r>
            <a:r>
              <a:rPr lang="de-DE" dirty="0" smtClean="0"/>
              <a:t> on </a:t>
            </a:r>
            <a:r>
              <a:rPr lang="de-DE" dirty="0" err="1" smtClean="0"/>
              <a:t>maturity</a:t>
            </a:r>
            <a:r>
              <a:rPr lang="de-DE" dirty="0" smtClean="0"/>
              <a:t> </a:t>
            </a:r>
            <a:r>
              <a:rPr lang="de-DE" dirty="0" err="1" smtClean="0"/>
              <a:t>index-Structure</a:t>
            </a:r>
            <a:r>
              <a:rPr lang="de-DE" dirty="0" smtClean="0"/>
              <a:t>. </a:t>
            </a:r>
          </a:p>
        </p:txBody>
      </p:sp>
      <p:sp>
        <p:nvSpPr>
          <p:cNvPr id="243718" name="AutoShape 6" descr="data:image/jpeg;base64,/9j/4AAQSkZJRgABAQAAAQABAAD/2wCEAAkGBhQQEBUUExQUFBUTFRQSFxYUGBUYFBQVFBIZFRcRGRcYHCYeGB0jGhQXHy8gJCcpLS04FyoxNjEqNyYrLCkBCQoKDAwOFA8PFCkYFBgpKSkpKSkpKSkpKSkpKSkpKSkpKSkpKSkpKSkpKSkpKSkpKSkpKSkpKSkpKSkpKSkpKf/AABEIAIgAiAMBIgACEQEDEQH/xAAcAAABBQEBAQAAAAAAAAAAAAAAAwUGBwgEAgH/xABEEAABAwIDBQUEBgcGBwAAAAABAAIDBBEFEiEGEzFBYQciUXGBFDKRoSNCUmKSsRUzcoLB8PEXJKKys9I0Q1OT0eHi/8QAFgEBAQEAAAAAAAAAAAAAAAAAAAEC/8QAGxEBAQEBAQADAAAAAAAAAAAAAAERMSFBYXH/2gAMAwEAAhEDEQA/AKOQhCAQhCAQgJaKlLkCKE5xYVddUeEdFNXDEhSH9EdEk/CeiauGNCc5cLXFLTFqqYRQghCIEIQgEIQgEIQgF6jjJOi+xx3KeqDD+iLIQpMMvyT9huBulcGsY57jwDQST104DqpTsdsC+rs512Qj61tX24hgOnrwHUq48E2YipmZY2Bg5n6zvAucdT/NlGuKswnsomfYyuZEPAd9/locvzUopOyWnaO+ZXnq4N+TRopvNiMUWnvO8BrdJ/pCZ3uQ5R4vLW/I6pjO1Gv7LaS36t343/8AlcNX2S05HdMrPIhw+Dh/FS5+IVA4iP8AF/8AKTG0Tm++z1aQfyQ9Vbi3ZRMwExOZKPA9x/zOU/FQbEsEdG4tkY5jhxDhY9ND+fBaYp8Thl52PVcWN7MRVLMsjA8cjzbfm13EFMXWVqzDU1vjtxVt7Y7BPpCXNu+EnR1u8zwDwP8ANwPQ6Kv6/D0M0xIXt7LGy8KshCEIBAQl6SK7kHfhtHdWPsFsd7XJdwO6YRm5ZzxEY8NOPh5lRfA8MdK9kbBdz3Bo8yba9NVovZnBWU0LI28GDU83Hi556k6/JRvjtpKRkLBoGtaAABoAB9UAclySVLp7kO3ULQSXmwuBxIvoAPtHRFTIJ3uzENhiBLyTZptrYnkABcnkoFiuP/pKS3CiYfo4+AqLHSaQc2ad1nDmeQFZSOHaIyHJhkDZORqpyWQebf8AmTelm+BSOIYDWOF58Qmv9ilayBg9bF5+K94diGUC3LkOAS9ZimYKLiH1+BlvCprb+JqZT/FNMlVVQ/q6qRw+zOGyDyJtm+akGI1N1Hqx6K7MN20AeG1TdyeUrCXQ+v1o/M5h1ViYZjTowM5zxm1nDUWPA3GhHUKl6s3XzBtp5KI5Lk05OrTruifrM+7fiPXzDQVXSMmYdA5rhYg2sQeRCo7b3Y32SS7BeF98v3D/ANIn8jzHHUKxNitrA87tx8COoPMFP+0uBsqYXxu9144/ZP1XjqD/ADqicZVxGjTSVNMdwx0T3xvFnMJafMHj68fVRKqis5IUghCFWQnPCoU2J+wlnBSrFo9k+EZ53Skfqm5R+3JcX9Gh3xVuYjPuodPedoPEk6AepUM7JqTLSZub5XH8IDf4KXYm688Q5Nu/8LdPnZCoV2lYpuoYqBh1lBlqCOJia62X9+S/owjmoxTVNlxbVYnvsSqX30bIIG9GwjJb8Wc+qnOwGEwTUb5N0yeYPILHutlGmUA6gXGt7a35IvDLFiFl7kxFPeH1dH7V7M6kcHvlsA8Abq7Acp71zqDwuNbglJbQtpt8+ihpyydz42tkBu3vZXOOrrgZbouozU1V011Myn+1+CU/ssvszGiSjeze24uaWXN/jf0KWwXZ2CSgpZBRsqHvLGvObIQ3OQ6W99bWvbmhqpah6bKhyuB8OG0+IGidTCV00jMps1zYS9ovESXZrAjNax95MXafU4fSiWkjo2sqMsbmzMazK0OIcdb5hoCOB4oajewmIm5ZfvQ95vWMmxb1yk/4h4K+MKqt/ADzFlmrY6qyYhB4Pduj1DxlHzLVoXZQlpdGfP4/0RKrTtYwjJO2UDSVpB/bjsP8pHwVR4rFqtCdrFJmpM3NkrD6ODmn8wqFxaPii/BiQhCrACkOE8lHk/YS/gpWo0P2X/8AAxeb/wDUKeMZky1F/uOH5KNdk1Xeky/YkcPxAOH5lSLapli1/S3xQ+VB1lR9PNfjv5yfPfvUz2O21pKWNgmgkMsTnFksZaCQ43yO7wJAJ4G4UL2qpzFWzA8HP3o6iUZ7/ElNgeip5UbdtfibaxzCGse05G2LsjWloF72vrddtB2iQNxOWskimLXNDY2tDC5ri1rXON3AcGm1vEqtd4pdhm3Qp8LdTRmZk+dz2PZlaxhc8EuLgbnui2rSfAhDD5hPa4/fS+1x7ynkbIMkcbA/U2GYkjMMpIJJXPXdpkcdHTwUrZ2up5WSNfJlGZjXOOQ5XG9w4DwNj4JVnavGaiV7zVBhfBJHk3RcWRx2fSPDiQI3vu42N9eSYdpu0L2mjjpYomxxhrS8EXyvbK97WRd6waA4C9gdLcNER341t7SzYnT1scczN24GVpDLvye65pDrE2JBv4BR3tC2oZiFa6eNr2NcyNtn5c12Cx90nRRp70i9yKcNm3E11KBx9ogt/wB5i1DSwZKsgfYafmVmnYCnz4lTnlG/fHwG7GYX/eAWkdn5DLI+Q+Ab6AIlMnaeP7jL5x/6gWe8V5q9+1iry0mW+r5GD0bd5/JUJiz0WcMaEL4qwE6YVLZNaXpJcpRYursmxYMnfETpK0OH7TL/AJtJ/ArZxam30B8Rqs14DijopGSMPeY4OHhcePTiD5rRmzmMsqYWSN914vbmDwLD4EHQqLVT9pWAF0DKpg1h+jkHPdl3dd+64kfvnwVaiRaM2pwota+wzMeDccjcWIsqBx7BjTuJaCYr6Hjlv9V35A87eIKK4d4vhkSULS9wa0EucQxoHEucQA0db6Lsr8Hlhc4FuYNkERcwOLd44EiPUA5iAbAgcOag5XPXh0i+btxAIa4hxyg2Nifsg2tfpxS1JhMsr2sDcubdm77tGWVwax/C+UkgXF+IVHI9655ZrJXE4zDI6M6lpt/UXNj04jgbFOmy+yzqlwe8ERg8ftn7I/ieSJqR9nGGFvft35u43owG5PrYfh6rQWE0u5gA5lRPYbZUNO8cLaAAfZA4BSXaTGWU8L5He6wHTmTwDR1J09UPpVvazi2eZkQOkbS5w+9IOHnlA+KqPFZrqRY9ijpZHyPN3PcXHzPL04eiiFXJdyF4QQhCrIX0FfEIHfDaxWTsBtl7JJkefoZCL/cdwEg6eI9fOoo5Mpunugr+qjU9axp6hszLEhwcLgjUEHUEeIUO2k2H1L4wCHe8CLtdfxCgWxm376SzH3fD4fWZ1Z0+7w9VcWDbRxVDA6N4e0+HEdCOLT5ocUxVdnZEgkpX7iVhzBrxdgcPA628iCOXNNbMExOlJ/uhlb9I76IF7c72tDJAGXLTGY2FotpltzWgqnCYZuVj0XPHg0sZ+jeD0cAf/aGxncVFQ3cn2Kq3kTqbQiUR5YBbK1mTu5xqeNiSRxXiOmxCSEQ7ktj3Qh+lFrBrw8OaX6sd3WggWvlGl9VouroqmUWdk9A7/cm8bEB5vIQVU8Uph+yT6ibeVDnTyeA90a3tpbS5JsLceatnZnYq1nPAAHADQAdFKKLBYYBoBp8EljO0cVPHmkeGNHC/Po0DVx6BQ/HZUVDIWWFmtaL3PCw5noqQ2/2y9rkyMJ3MZNuWd32z04gD15r7tnt++quxl2Q+B96S3N3ToD53VeV9eiyYQxKs6poJXuSTMbrwqlCEIRAhCEAvcchbwXhCB3o8SUgwvH3wuDo3uY7xabfHkfVQgJeOrIUxrV14R2tSMsJmNk+8w5HfD3T8lKKTtWpj7xkYfvMv82krPMOKrqZi3VDxon+02kt+u/wSf7VxVfavTNHdMj/2WW+biFRH6W6pKTFkMi1MX7W5XAiFjY/vOOd/oPdHzUExXH3zOLpHue7xcb+g8PIKOS4quKSsLkNhwrMSTXJIXcV4KFUtCEIRAhCEAhCEAhCEAhCEAhCEH26F8QgEIQgEIQgEIQgEIQg//9k="/>
          <p:cNvSpPr>
            <a:spLocks noChangeAspect="1" noChangeArrowheads="1"/>
          </p:cNvSpPr>
          <p:nvPr/>
        </p:nvSpPr>
        <p:spPr bwMode="auto">
          <a:xfrm>
            <a:off x="0" y="-617538"/>
            <a:ext cx="1295400" cy="1295401"/>
          </a:xfrm>
          <a:prstGeom prst="rect">
            <a:avLst/>
          </a:prstGeom>
          <a:noFill/>
        </p:spPr>
        <p:txBody>
          <a:bodyPr vert="horz" wrap="square" lIns="91440" tIns="45720" rIns="91440" bIns="45720" numCol="1" anchor="t" anchorCtr="0" compatLnSpc="1">
            <a:prstTxWarp prst="textNoShape">
              <a:avLst/>
            </a:prstTxWarp>
          </a:bodyPr>
          <a:lstStyle/>
          <a:p>
            <a:endParaRPr lang="de-DE" dirty="0"/>
          </a:p>
        </p:txBody>
      </p:sp>
      <p:sp>
        <p:nvSpPr>
          <p:cNvPr id="243720" name="AutoShape 8" descr="data:image/jpeg;base64,/9j/4AAQSkZJRgABAQAAAQABAAD/2wCEAAkGBhQQEBUUExQUFBUTFRQSFxYUGBUYFBQVFBIZFRcRGRcYHCYeGB0jGhQXHy8gJCcpLS04FyoxNjEqNyYrLCkBCQoKDAwOFA8PFCkYFBgpKSkpKSkpKSkpKSkpKSkpKSkpKSkpKSkpKSkpKSkpKSkpKSkpKSkpKSkpKSkpKSkpKf/AABEIAIgAiAMBIgACEQEDEQH/xAAcAAABBQEBAQAAAAAAAAAAAAAAAwUGBwgEAgH/xABEEAABAwIDBQUEBgcGBwAAAAABAAIDBBEFEiEGEzFBYQciUXGBFDKRoSNCUmKSsRUzcoLB8PEXJKKys9I0Q1OT0eHi/8QAFgEBAQEAAAAAAAAAAAAAAAAAAAEC/8QAGxEBAQEBAQADAAAAAAAAAAAAAAERMSFBYXH/2gAMAwEAAhEDEQA/AKOQhCAQhCAQgJaKlLkCKE5xYVddUeEdFNXDEhSH9EdEk/CeiauGNCc5cLXFLTFqqYRQghCIEIQgEIQgEIQgF6jjJOi+xx3KeqDD+iLIQpMMvyT9huBulcGsY57jwDQST104DqpTsdsC+rs512Qj61tX24hgOnrwHUq48E2YipmZY2Bg5n6zvAucdT/NlGuKswnsomfYyuZEPAd9/locvzUopOyWnaO+ZXnq4N+TRopvNiMUWnvO8BrdJ/pCZ3uQ5R4vLW/I6pjO1Gv7LaS36t343/8AlcNX2S05HdMrPIhw+Dh/FS5+IVA4iP8AF/8AKTG0Tm++z1aQfyQ9Vbi3ZRMwExOZKPA9x/zOU/FQbEsEdG4tkY5jhxDhY9ND+fBaYp8Thl52PVcWN7MRVLMsjA8cjzbfm13EFMXWVqzDU1vjtxVt7Y7BPpCXNu+EnR1u8zwDwP8ANwPQ6Kv6/D0M0xIXt7LGy8KshCEIBAQl6SK7kHfhtHdWPsFsd7XJdwO6YRm5ZzxEY8NOPh5lRfA8MdK9kbBdz3Bo8yba9NVovZnBWU0LI28GDU83Hi556k6/JRvjtpKRkLBoGtaAABoAB9UAclySVLp7kO3ULQSXmwuBxIvoAPtHRFTIJ3uzENhiBLyTZptrYnkABcnkoFiuP/pKS3CiYfo4+AqLHSaQc2ad1nDmeQFZSOHaIyHJhkDZORqpyWQebf8AmTelm+BSOIYDWOF58Qmv9ilayBg9bF5+K94diGUC3LkOAS9ZimYKLiH1+BlvCprb+JqZT/FNMlVVQ/q6qRw+zOGyDyJtm+akGI1N1Hqx6K7MN20AeG1TdyeUrCXQ+v1o/M5h1ViYZjTowM5zxm1nDUWPA3GhHUKl6s3XzBtp5KI5Lk05OrTruifrM+7fiPXzDQVXSMmYdA5rhYg2sQeRCo7b3Y32SS7BeF98v3D/ANIn8jzHHUKxNitrA87tx8COoPMFP+0uBsqYXxu9144/ZP1XjqD/ADqicZVxGjTSVNMdwx0T3xvFnMJafMHj68fVRKqis5IUghCFWQnPCoU2J+wlnBSrFo9k+EZ53Skfqm5R+3JcX9Gh3xVuYjPuodPedoPEk6AepUM7JqTLSZub5XH8IDf4KXYm688Q5Nu/8LdPnZCoV2lYpuoYqBh1lBlqCOJia62X9+S/owjmoxTVNlxbVYnvsSqX30bIIG9GwjJb8Wc+qnOwGEwTUb5N0yeYPILHutlGmUA6gXGt7a35IvDLFiFl7kxFPeH1dH7V7M6kcHvlsA8Abq7Acp71zqDwuNbglJbQtpt8+ihpyydz42tkBu3vZXOOrrgZbouozU1V011Myn+1+CU/ssvszGiSjeze24uaWXN/jf0KWwXZ2CSgpZBRsqHvLGvObIQ3OQ6W99bWvbmhqpah6bKhyuB8OG0+IGidTCV00jMps1zYS9ovESXZrAjNax95MXafU4fSiWkjo2sqMsbmzMazK0OIcdb5hoCOB4oajewmIm5ZfvQ95vWMmxb1yk/4h4K+MKqt/ADzFlmrY6qyYhB4Pduj1DxlHzLVoXZQlpdGfP4/0RKrTtYwjJO2UDSVpB/bjsP8pHwVR4rFqtCdrFJmpM3NkrD6ODmn8wqFxaPii/BiQhCrACkOE8lHk/YS/gpWo0P2X/8AAxeb/wDUKeMZky1F/uOH5KNdk1Xeky/YkcPxAOH5lSLapli1/S3xQ+VB1lR9PNfjv5yfPfvUz2O21pKWNgmgkMsTnFksZaCQ43yO7wJAJ4G4UL2qpzFWzA8HP3o6iUZ7/ElNgeip5UbdtfibaxzCGse05G2LsjWloF72vrddtB2iQNxOWskimLXNDY2tDC5ri1rXON3AcGm1vEqtd4pdhm3Qp8LdTRmZk+dz2PZlaxhc8EuLgbnui2rSfAhDD5hPa4/fS+1x7ynkbIMkcbA/U2GYkjMMpIJJXPXdpkcdHTwUrZ2up5WSNfJlGZjXOOQ5XG9w4DwNj4JVnavGaiV7zVBhfBJHk3RcWRx2fSPDiQI3vu42N9eSYdpu0L2mjjpYomxxhrS8EXyvbK97WRd6waA4C9gdLcNER341t7SzYnT1scczN24GVpDLvye65pDrE2JBv4BR3tC2oZiFa6eNr2NcyNtn5c12Cx90nRRp70i9yKcNm3E11KBx9ogt/wB5i1DSwZKsgfYafmVmnYCnz4lTnlG/fHwG7GYX/eAWkdn5DLI+Q+Ab6AIlMnaeP7jL5x/6gWe8V5q9+1iry0mW+r5GD0bd5/JUJiz0WcMaEL4qwE6YVLZNaXpJcpRYursmxYMnfETpK0OH7TL/AJtJ/ArZxam30B8Rqs14DijopGSMPeY4OHhcePTiD5rRmzmMsqYWSN914vbmDwLD4EHQqLVT9pWAF0DKpg1h+jkHPdl3dd+64kfvnwVaiRaM2pwota+wzMeDccjcWIsqBx7BjTuJaCYr6Hjlv9V35A87eIKK4d4vhkSULS9wa0EucQxoHEucQA0db6Lsr8Hlhc4FuYNkERcwOLd44EiPUA5iAbAgcOag5XPXh0i+btxAIa4hxyg2Nifsg2tfpxS1JhMsr2sDcubdm77tGWVwax/C+UkgXF+IVHI9655ZrJXE4zDI6M6lpt/UXNj04jgbFOmy+yzqlwe8ERg8ftn7I/ieSJqR9nGGFvft35u43owG5PrYfh6rQWE0u5gA5lRPYbZUNO8cLaAAfZA4BSXaTGWU8L5He6wHTmTwDR1J09UPpVvazi2eZkQOkbS5w+9IOHnlA+KqPFZrqRY9ijpZHyPN3PcXHzPL04eiiFXJdyF4QQhCrIX0FfEIHfDaxWTsBtl7JJkefoZCL/cdwEg6eI9fOoo5Mpunugr+qjU9axp6hszLEhwcLgjUEHUEeIUO2k2H1L4wCHe8CLtdfxCgWxm376SzH3fD4fWZ1Z0+7w9VcWDbRxVDA6N4e0+HEdCOLT5ocUxVdnZEgkpX7iVhzBrxdgcPA628iCOXNNbMExOlJ/uhlb9I76IF7c72tDJAGXLTGY2FotpltzWgqnCYZuVj0XPHg0sZ+jeD0cAf/aGxncVFQ3cn2Kq3kTqbQiUR5YBbK1mTu5xqeNiSRxXiOmxCSEQ7ktj3Qh+lFrBrw8OaX6sd3WggWvlGl9VouroqmUWdk9A7/cm8bEB5vIQVU8Uph+yT6ibeVDnTyeA90a3tpbS5JsLceatnZnYq1nPAAHADQAdFKKLBYYBoBp8EljO0cVPHmkeGNHC/Po0DVx6BQ/HZUVDIWWFmtaL3PCw5noqQ2/2y9rkyMJ3MZNuWd32z04gD15r7tnt++quxl2Q+B96S3N3ToD53VeV9eiyYQxKs6poJXuSTMbrwqlCEIRAhCEAvcchbwXhCB3o8SUgwvH3wuDo3uY7xabfHkfVQgJeOrIUxrV14R2tSMsJmNk+8w5HfD3T8lKKTtWpj7xkYfvMv82krPMOKrqZi3VDxon+02kt+u/wSf7VxVfavTNHdMj/2WW+biFRH6W6pKTFkMi1MX7W5XAiFjY/vOOd/oPdHzUExXH3zOLpHue7xcb+g8PIKOS4quKSsLkNhwrMSTXJIXcV4KFUtCEIRAhCEAhCEAhCEAhCEAhCEH26F8QgEIQgEIQgEIQgEIQg//9k="/>
          <p:cNvSpPr>
            <a:spLocks noChangeAspect="1" noChangeArrowheads="1"/>
          </p:cNvSpPr>
          <p:nvPr/>
        </p:nvSpPr>
        <p:spPr bwMode="auto">
          <a:xfrm>
            <a:off x="0" y="-617538"/>
            <a:ext cx="1295400" cy="1295401"/>
          </a:xfrm>
          <a:prstGeom prst="rect">
            <a:avLst/>
          </a:prstGeom>
          <a:noFill/>
        </p:spPr>
        <p:txBody>
          <a:bodyPr vert="horz" wrap="square" lIns="91440" tIns="45720" rIns="91440" bIns="45720" numCol="1" anchor="t" anchorCtr="0" compatLnSpc="1">
            <a:prstTxWarp prst="textNoShape">
              <a:avLst/>
            </a:prstTxWarp>
          </a:bodyPr>
          <a:lstStyle/>
          <a:p>
            <a:endParaRPr lang="de-DE" dirty="0"/>
          </a:p>
        </p:txBody>
      </p:sp>
      <p:sp>
        <p:nvSpPr>
          <p:cNvPr id="243722" name="AutoShape 10" descr="data:image/jpeg;base64,/9j/4AAQSkZJRgABAQAAAQABAAD/2wCEAAkGBhQQEBUUExQUFBUTFRQSFxYUGBUYFBQVFBIZFRcRGRcYHCYeGB0jGhQXHy8gJCcpLS04FyoxNjEqNyYrLCkBCQoKDAwOFA8PFCkYFBgpKSkpKSkpKSkpKSkpKSkpKSkpKSkpKSkpKSkpKSkpKSkpKSkpKSkpKSkpKSkpKSkpKf/AABEIAIgAiAMBIgACEQEDEQH/xAAcAAABBQEBAQAAAAAAAAAAAAAAAwUGBwgEAgH/xABEEAABAwIDBQUEBgcGBwAAAAABAAIDBBEFEiEGEzFBYQciUXGBFDKRoSNCUmKSsRUzcoLB8PEXJKKys9I0Q1OT0eHi/8QAFgEBAQEAAAAAAAAAAAAAAAAAAAEC/8QAGxEBAQEBAQADAAAAAAAAAAAAAAERMSFBYXH/2gAMAwEAAhEDEQA/AKOQhCAQhCAQgJaKlLkCKE5xYVddUeEdFNXDEhSH9EdEk/CeiauGNCc5cLXFLTFqqYRQghCIEIQgEIQgEIQgF6jjJOi+xx3KeqDD+iLIQpMMvyT9huBulcGsY57jwDQST104DqpTsdsC+rs512Qj61tX24hgOnrwHUq48E2YipmZY2Bg5n6zvAucdT/NlGuKswnsomfYyuZEPAd9/locvzUopOyWnaO+ZXnq4N+TRopvNiMUWnvO8BrdJ/pCZ3uQ5R4vLW/I6pjO1Gv7LaS36t343/8AlcNX2S05HdMrPIhw+Dh/FS5+IVA4iP8AF/8AKTG0Tm++z1aQfyQ9Vbi3ZRMwExOZKPA9x/zOU/FQbEsEdG4tkY5jhxDhY9ND+fBaYp8Thl52PVcWN7MRVLMsjA8cjzbfm13EFMXWVqzDU1vjtxVt7Y7BPpCXNu+EnR1u8zwDwP8ANwPQ6Kv6/D0M0xIXt7LGy8KshCEIBAQl6SK7kHfhtHdWPsFsd7XJdwO6YRm5ZzxEY8NOPh5lRfA8MdK9kbBdz3Bo8yba9NVovZnBWU0LI28GDU83Hi556k6/JRvjtpKRkLBoGtaAABoAB9UAclySVLp7kO3ULQSXmwuBxIvoAPtHRFTIJ3uzENhiBLyTZptrYnkABcnkoFiuP/pKS3CiYfo4+AqLHSaQc2ad1nDmeQFZSOHaIyHJhkDZORqpyWQebf8AmTelm+BSOIYDWOF58Qmv9ilayBg9bF5+K94diGUC3LkOAS9ZimYKLiH1+BlvCprb+JqZT/FNMlVVQ/q6qRw+zOGyDyJtm+akGI1N1Hqx6K7MN20AeG1TdyeUrCXQ+v1o/M5h1ViYZjTowM5zxm1nDUWPA3GhHUKl6s3XzBtp5KI5Lk05OrTruifrM+7fiPXzDQVXSMmYdA5rhYg2sQeRCo7b3Y32SS7BeF98v3D/ANIn8jzHHUKxNitrA87tx8COoPMFP+0uBsqYXxu9144/ZP1XjqD/ADqicZVxGjTSVNMdwx0T3xvFnMJafMHj68fVRKqis5IUghCFWQnPCoU2J+wlnBSrFo9k+EZ53Skfqm5R+3JcX9Gh3xVuYjPuodPedoPEk6AepUM7JqTLSZub5XH8IDf4KXYm688Q5Nu/8LdPnZCoV2lYpuoYqBh1lBlqCOJia62X9+S/owjmoxTVNlxbVYnvsSqX30bIIG9GwjJb8Wc+qnOwGEwTUb5N0yeYPILHutlGmUA6gXGt7a35IvDLFiFl7kxFPeH1dH7V7M6kcHvlsA8Abq7Acp71zqDwuNbglJbQtpt8+ihpyydz42tkBu3vZXOOrrgZbouozU1V011Myn+1+CU/ssvszGiSjeze24uaWXN/jf0KWwXZ2CSgpZBRsqHvLGvObIQ3OQ6W99bWvbmhqpah6bKhyuB8OG0+IGidTCV00jMps1zYS9ovESXZrAjNax95MXafU4fSiWkjo2sqMsbmzMazK0OIcdb5hoCOB4oajewmIm5ZfvQ95vWMmxb1yk/4h4K+MKqt/ADzFlmrY6qyYhB4Pduj1DxlHzLVoXZQlpdGfP4/0RKrTtYwjJO2UDSVpB/bjsP8pHwVR4rFqtCdrFJmpM3NkrD6ODmn8wqFxaPii/BiQhCrACkOE8lHk/YS/gpWo0P2X/8AAxeb/wDUKeMZky1F/uOH5KNdk1Xeky/YkcPxAOH5lSLapli1/S3xQ+VB1lR9PNfjv5yfPfvUz2O21pKWNgmgkMsTnFksZaCQ43yO7wJAJ4G4UL2qpzFWzA8HP3o6iUZ7/ElNgeip5UbdtfibaxzCGse05G2LsjWloF72vrddtB2iQNxOWskimLXNDY2tDC5ri1rXON3AcGm1vEqtd4pdhm3Qp8LdTRmZk+dz2PZlaxhc8EuLgbnui2rSfAhDD5hPa4/fS+1x7ynkbIMkcbA/U2GYkjMMpIJJXPXdpkcdHTwUrZ2up5WSNfJlGZjXOOQ5XG9w4DwNj4JVnavGaiV7zVBhfBJHk3RcWRx2fSPDiQI3vu42N9eSYdpu0L2mjjpYomxxhrS8EXyvbK97WRd6waA4C9gdLcNER341t7SzYnT1scczN24GVpDLvye65pDrE2JBv4BR3tC2oZiFa6eNr2NcyNtn5c12Cx90nRRp70i9yKcNm3E11KBx9ogt/wB5i1DSwZKsgfYafmVmnYCnz4lTnlG/fHwG7GYX/eAWkdn5DLI+Q+Ab6AIlMnaeP7jL5x/6gWe8V5q9+1iry0mW+r5GD0bd5/JUJiz0WcMaEL4qwE6YVLZNaXpJcpRYursmxYMnfETpK0OH7TL/AJtJ/ArZxam30B8Rqs14DijopGSMPeY4OHhcePTiD5rRmzmMsqYWSN914vbmDwLD4EHQqLVT9pWAF0DKpg1h+jkHPdl3dd+64kfvnwVaiRaM2pwota+wzMeDccjcWIsqBx7BjTuJaCYr6Hjlv9V35A87eIKK4d4vhkSULS9wa0EucQxoHEucQA0db6Lsr8Hlhc4FuYNkERcwOLd44EiPUA5iAbAgcOag5XPXh0i+btxAIa4hxyg2Nifsg2tfpxS1JhMsr2sDcubdm77tGWVwax/C+UkgXF+IVHI9655ZrJXE4zDI6M6lpt/UXNj04jgbFOmy+yzqlwe8ERg8ftn7I/ieSJqR9nGGFvft35u43owG5PrYfh6rQWE0u5gA5lRPYbZUNO8cLaAAfZA4BSXaTGWU8L5He6wHTmTwDR1J09UPpVvazi2eZkQOkbS5w+9IOHnlA+KqPFZrqRY9ijpZHyPN3PcXHzPL04eiiFXJdyF4QQhCrIX0FfEIHfDaxWTsBtl7JJkefoZCL/cdwEg6eI9fOoo5Mpunugr+qjU9axp6hszLEhwcLgjUEHUEeIUO2k2H1L4wCHe8CLtdfxCgWxm376SzH3fD4fWZ1Z0+7w9VcWDbRxVDA6N4e0+HEdCOLT5ocUxVdnZEgkpX7iVhzBrxdgcPA628iCOXNNbMExOlJ/uhlb9I76IF7c72tDJAGXLTGY2FotpltzWgqnCYZuVj0XPHg0sZ+jeD0cAf/aGxncVFQ3cn2Kq3kTqbQiUR5YBbK1mTu5xqeNiSRxXiOmxCSEQ7ktj3Qh+lFrBrw8OaX6sd3WggWvlGl9VouroqmUWdk9A7/cm8bEB5vIQVU8Uph+yT6ibeVDnTyeA90a3tpbS5JsLceatnZnYq1nPAAHADQAdFKKLBYYBoBp8EljO0cVPHmkeGNHC/Po0DVx6BQ/HZUVDIWWFmtaL3PCw5noqQ2/2y9rkyMJ3MZNuWd32z04gD15r7tnt++quxl2Q+B96S3N3ToD53VeV9eiyYQxKs6poJXuSTMbrwqlCEIRAhCEAvcchbwXhCB3o8SUgwvH3wuDo3uY7xabfHkfVQgJeOrIUxrV14R2tSMsJmNk+8w5HfD3T8lKKTtWpj7xkYfvMv82krPMOKrqZi3VDxon+02kt+u/wSf7VxVfavTNHdMj/2WW+biFRH6W6pKTFkMi1MX7W5XAiFjY/vOOd/oPdHzUExXH3zOLpHue7xcb+g8PIKOS4quKSsLkNhwrMSTXJIXcV4KFUtCEIRAhCEAhCEAhCEAhCEAhCEH26F8QgEIQgEIQgEIQgEIQg//9k="/>
          <p:cNvSpPr>
            <a:spLocks noChangeAspect="1" noChangeArrowheads="1"/>
          </p:cNvSpPr>
          <p:nvPr/>
        </p:nvSpPr>
        <p:spPr bwMode="auto">
          <a:xfrm>
            <a:off x="0" y="-617538"/>
            <a:ext cx="1295400" cy="1295401"/>
          </a:xfrm>
          <a:prstGeom prst="rect">
            <a:avLst/>
          </a:prstGeom>
          <a:noFill/>
        </p:spPr>
        <p:txBody>
          <a:bodyPr vert="horz" wrap="square" lIns="91440" tIns="45720" rIns="91440" bIns="45720" numCol="1" anchor="t" anchorCtr="0" compatLnSpc="1">
            <a:prstTxWarp prst="textNoShape">
              <a:avLst/>
            </a:prstTxWarp>
          </a:bodyPr>
          <a:lstStyle/>
          <a:p>
            <a:endParaRPr lang="de-DE" dirty="0"/>
          </a:p>
        </p:txBody>
      </p:sp>
      <p:sp>
        <p:nvSpPr>
          <p:cNvPr id="122" name="Pfeil nach rechts 121"/>
          <p:cNvSpPr/>
          <p:nvPr/>
        </p:nvSpPr>
        <p:spPr>
          <a:xfrm>
            <a:off x="500722" y="2404624"/>
            <a:ext cx="8126699" cy="108000"/>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06" name="Gerade Verbindung 105"/>
          <p:cNvCxnSpPr/>
          <p:nvPr/>
        </p:nvCxnSpPr>
        <p:spPr>
          <a:xfrm>
            <a:off x="5301429" y="1864468"/>
            <a:ext cx="0" cy="4673343"/>
          </a:xfrm>
          <a:prstGeom prst="line">
            <a:avLst/>
          </a:prstGeom>
          <a:ln>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7" name="Rechteck 243715"/>
          <p:cNvSpPr/>
          <p:nvPr/>
        </p:nvSpPr>
        <p:spPr>
          <a:xfrm>
            <a:off x="577407" y="2898470"/>
            <a:ext cx="7975387" cy="3619419"/>
          </a:xfrm>
          <a:custGeom>
            <a:avLst/>
            <a:gdLst/>
            <a:ahLst/>
            <a:cxnLst/>
            <a:rect l="l" t="t" r="r" b="b"/>
            <a:pathLst>
              <a:path w="4654881" h="3030752">
                <a:moveTo>
                  <a:pt x="0" y="0"/>
                </a:moveTo>
                <a:lnTo>
                  <a:pt x="1384303" y="0"/>
                </a:lnTo>
                <a:lnTo>
                  <a:pt x="2327440" y="1896729"/>
                </a:lnTo>
                <a:lnTo>
                  <a:pt x="3270579" y="0"/>
                </a:lnTo>
                <a:lnTo>
                  <a:pt x="4654881" y="0"/>
                </a:lnTo>
                <a:lnTo>
                  <a:pt x="4654881" y="834218"/>
                </a:lnTo>
                <a:lnTo>
                  <a:pt x="3906081" y="834218"/>
                </a:lnTo>
                <a:lnTo>
                  <a:pt x="3899867" y="824609"/>
                </a:lnTo>
                <a:lnTo>
                  <a:pt x="3894548" y="834218"/>
                </a:lnTo>
                <a:lnTo>
                  <a:pt x="3889950" y="834218"/>
                </a:lnTo>
                <a:lnTo>
                  <a:pt x="3892210" y="838442"/>
                </a:lnTo>
                <a:lnTo>
                  <a:pt x="3158961" y="2163091"/>
                </a:lnTo>
                <a:lnTo>
                  <a:pt x="2678673" y="3030752"/>
                </a:lnTo>
                <a:lnTo>
                  <a:pt x="1959149" y="3030752"/>
                </a:lnTo>
                <a:lnTo>
                  <a:pt x="1328968" y="1864502"/>
                </a:lnTo>
                <a:lnTo>
                  <a:pt x="766936" y="824372"/>
                </a:lnTo>
                <a:lnTo>
                  <a:pt x="760425" y="834218"/>
                </a:lnTo>
                <a:lnTo>
                  <a:pt x="0" y="834218"/>
                </a:lnTo>
                <a:close/>
              </a:path>
            </a:pathLst>
          </a:custGeom>
          <a:solidFill>
            <a:schemeClr val="bg1">
              <a:lumMod val="50000"/>
              <a:alpha val="27000"/>
            </a:schemeClr>
          </a:solidFill>
          <a:ln>
            <a:solidFill>
              <a:schemeClr val="bg1">
                <a:lumMod val="8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extrusionH="19050">
            <a:bevelT w="13335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1" name="Pfeil nach rechts 50"/>
          <p:cNvSpPr/>
          <p:nvPr/>
        </p:nvSpPr>
        <p:spPr>
          <a:xfrm>
            <a:off x="459688" y="1262619"/>
            <a:ext cx="8277972" cy="523067"/>
          </a:xfrm>
          <a:prstGeom prst="rightArrow">
            <a:avLst>
              <a:gd name="adj1" fmla="val 50000"/>
              <a:gd name="adj2" fmla="val 87932"/>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de-DE" sz="1400" b="1" smtClean="0">
                <a:solidFill>
                  <a:schemeClr val="bg1"/>
                </a:solidFill>
              </a:rPr>
              <a:t>Maturity gate </a:t>
            </a:r>
            <a:r>
              <a:rPr lang="de-DE" sz="1400" b="1" dirty="0" smtClean="0">
                <a:solidFill>
                  <a:schemeClr val="bg1"/>
                </a:solidFill>
              </a:rPr>
              <a:t>x</a:t>
            </a:r>
            <a:endParaRPr lang="de-DE" sz="1400" b="1" dirty="0">
              <a:solidFill>
                <a:schemeClr val="bg1"/>
              </a:solidFill>
            </a:endParaRPr>
          </a:p>
        </p:txBody>
      </p:sp>
      <p:pic>
        <p:nvPicPr>
          <p:cNvPr id="76" name="Picture 172"/>
          <p:cNvPicPr>
            <a:picLocks noChangeAspect="1" noChangeArrowheads="1"/>
          </p:cNvPicPr>
          <p:nvPr/>
        </p:nvPicPr>
        <p:blipFill>
          <a:blip r:embed="rId3" cstate="print"/>
          <a:srcRect/>
          <a:stretch>
            <a:fillRect/>
          </a:stretch>
        </p:blipFill>
        <p:spPr bwMode="auto">
          <a:xfrm>
            <a:off x="672613" y="3016865"/>
            <a:ext cx="1219750" cy="778753"/>
          </a:xfrm>
          <a:prstGeom prst="rect">
            <a:avLst/>
          </a:prstGeom>
          <a:noFill/>
          <a:ln w="9525">
            <a:solidFill>
              <a:schemeClr val="bg2"/>
            </a:solidFill>
            <a:miter lim="800000"/>
            <a:headEnd/>
            <a:tailEnd/>
          </a:ln>
        </p:spPr>
      </p:pic>
      <p:sp>
        <p:nvSpPr>
          <p:cNvPr id="77" name="Rechteck 76"/>
          <p:cNvSpPr/>
          <p:nvPr/>
        </p:nvSpPr>
        <p:spPr>
          <a:xfrm>
            <a:off x="421895" y="3908533"/>
            <a:ext cx="1615315" cy="443198"/>
          </a:xfrm>
          <a:prstGeom prst="rect">
            <a:avLst/>
          </a:prstGeom>
        </p:spPr>
        <p:txBody>
          <a:bodyPr wrap="none">
            <a:spAutoFit/>
          </a:bodyPr>
          <a:lstStyle/>
          <a:p>
            <a:pPr algn="ctr" fontAlgn="base">
              <a:lnSpc>
                <a:spcPct val="95000"/>
              </a:lnSpc>
              <a:spcBef>
                <a:spcPct val="0"/>
              </a:spcBef>
              <a:spcAft>
                <a:spcPct val="0"/>
              </a:spcAft>
            </a:pPr>
            <a:r>
              <a:rPr lang="de-DE" sz="1200" b="1" dirty="0" smtClean="0">
                <a:solidFill>
                  <a:srgbClr val="000000"/>
                </a:solidFill>
              </a:rPr>
              <a:t>Status</a:t>
            </a:r>
          </a:p>
          <a:p>
            <a:pPr algn="ctr" fontAlgn="base">
              <a:lnSpc>
                <a:spcPct val="95000"/>
              </a:lnSpc>
              <a:spcBef>
                <a:spcPct val="0"/>
              </a:spcBef>
              <a:spcAft>
                <a:spcPct val="0"/>
              </a:spcAft>
            </a:pPr>
            <a:r>
              <a:rPr lang="de-DE" sz="1200" b="1" smtClean="0">
                <a:solidFill>
                  <a:srgbClr val="000000"/>
                </a:solidFill>
              </a:rPr>
              <a:t>maturity level planning</a:t>
            </a:r>
            <a:endParaRPr lang="de-DE" sz="1200" dirty="0" smtClean="0">
              <a:solidFill>
                <a:srgbClr val="000000"/>
              </a:solidFill>
            </a:endParaRPr>
          </a:p>
        </p:txBody>
      </p:sp>
      <p:pic>
        <p:nvPicPr>
          <p:cNvPr id="78" name="Picture 172"/>
          <p:cNvPicPr>
            <a:picLocks noChangeAspect="1" noChangeArrowheads="1"/>
          </p:cNvPicPr>
          <p:nvPr/>
        </p:nvPicPr>
        <p:blipFill>
          <a:blip r:embed="rId4" cstate="print"/>
          <a:srcRect/>
          <a:stretch>
            <a:fillRect/>
          </a:stretch>
        </p:blipFill>
        <p:spPr bwMode="auto">
          <a:xfrm>
            <a:off x="2666038" y="3832576"/>
            <a:ext cx="743464" cy="474666"/>
          </a:xfrm>
          <a:prstGeom prst="rect">
            <a:avLst/>
          </a:prstGeom>
          <a:noFill/>
          <a:ln w="9525">
            <a:solidFill>
              <a:schemeClr val="bg2"/>
            </a:solidFill>
            <a:miter lim="800000"/>
            <a:headEnd/>
            <a:tailEnd/>
          </a:ln>
        </p:spPr>
      </p:pic>
      <p:sp>
        <p:nvSpPr>
          <p:cNvPr id="79" name="Rechteck 78"/>
          <p:cNvSpPr/>
          <p:nvPr/>
        </p:nvSpPr>
        <p:spPr>
          <a:xfrm>
            <a:off x="2347030" y="4312832"/>
            <a:ext cx="1476940" cy="618631"/>
          </a:xfrm>
          <a:prstGeom prst="rect">
            <a:avLst/>
          </a:prstGeom>
        </p:spPr>
        <p:txBody>
          <a:bodyPr wrap="square">
            <a:spAutoFit/>
          </a:bodyPr>
          <a:lstStyle/>
          <a:p>
            <a:pPr algn="ctr" fontAlgn="base">
              <a:lnSpc>
                <a:spcPct val="95000"/>
              </a:lnSpc>
              <a:spcBef>
                <a:spcPct val="0"/>
              </a:spcBef>
              <a:spcAft>
                <a:spcPct val="0"/>
              </a:spcAft>
            </a:pPr>
            <a:r>
              <a:rPr lang="de-DE" sz="1200" b="1" smtClean="0">
                <a:solidFill>
                  <a:srgbClr val="000000"/>
                </a:solidFill>
              </a:rPr>
              <a:t>Interim status</a:t>
            </a:r>
            <a:r>
              <a:rPr lang="de-DE" sz="1200" b="1" dirty="0" smtClean="0">
                <a:solidFill>
                  <a:srgbClr val="000000"/>
                </a:solidFill>
              </a:rPr>
              <a:t>: </a:t>
            </a:r>
          </a:p>
          <a:p>
            <a:pPr algn="ctr" fontAlgn="base">
              <a:lnSpc>
                <a:spcPct val="95000"/>
              </a:lnSpc>
              <a:spcBef>
                <a:spcPct val="0"/>
              </a:spcBef>
              <a:spcAft>
                <a:spcPct val="0"/>
              </a:spcAft>
            </a:pPr>
            <a:r>
              <a:rPr lang="de-DE" sz="1200" b="1" smtClean="0">
                <a:solidFill>
                  <a:srgbClr val="000000"/>
                </a:solidFill>
              </a:rPr>
              <a:t>Maturity level-target agreement</a:t>
            </a:r>
            <a:endParaRPr lang="de-DE" sz="1200" dirty="0" smtClean="0">
              <a:solidFill>
                <a:srgbClr val="000000"/>
              </a:solidFill>
            </a:endParaRPr>
          </a:p>
        </p:txBody>
      </p:sp>
      <p:sp>
        <p:nvSpPr>
          <p:cNvPr id="82" name="Rechteck 81"/>
          <p:cNvSpPr/>
          <p:nvPr/>
        </p:nvSpPr>
        <p:spPr>
          <a:xfrm>
            <a:off x="3714959" y="6094613"/>
            <a:ext cx="1693733" cy="443198"/>
          </a:xfrm>
          <a:prstGeom prst="rect">
            <a:avLst/>
          </a:prstGeom>
        </p:spPr>
        <p:txBody>
          <a:bodyPr wrap="none">
            <a:spAutoFit/>
          </a:bodyPr>
          <a:lstStyle/>
          <a:p>
            <a:pPr algn="ctr" fontAlgn="base">
              <a:lnSpc>
                <a:spcPct val="95000"/>
              </a:lnSpc>
              <a:spcBef>
                <a:spcPct val="0"/>
              </a:spcBef>
              <a:spcAft>
                <a:spcPct val="0"/>
              </a:spcAft>
            </a:pPr>
            <a:r>
              <a:rPr lang="de-DE" sz="1200" b="1" smtClean="0">
                <a:solidFill>
                  <a:srgbClr val="000000"/>
                </a:solidFill>
              </a:rPr>
              <a:t>Status of maturity level-</a:t>
            </a:r>
            <a:br>
              <a:rPr lang="de-DE" sz="1200" b="1" smtClean="0">
                <a:solidFill>
                  <a:srgbClr val="000000"/>
                </a:solidFill>
              </a:rPr>
            </a:br>
            <a:r>
              <a:rPr lang="de-DE" sz="1200" b="1" smtClean="0">
                <a:solidFill>
                  <a:srgbClr val="000000"/>
                </a:solidFill>
              </a:rPr>
              <a:t>target as agreed upon</a:t>
            </a:r>
            <a:endParaRPr lang="de-DE" sz="1200" b="1" dirty="0" smtClean="0">
              <a:solidFill>
                <a:srgbClr val="000000"/>
              </a:solidFill>
            </a:endParaRPr>
          </a:p>
        </p:txBody>
      </p:sp>
      <p:sp>
        <p:nvSpPr>
          <p:cNvPr id="84" name="Rechteck 83"/>
          <p:cNvSpPr/>
          <p:nvPr/>
        </p:nvSpPr>
        <p:spPr>
          <a:xfrm>
            <a:off x="5315935" y="4307242"/>
            <a:ext cx="1421578" cy="618631"/>
          </a:xfrm>
          <a:prstGeom prst="rect">
            <a:avLst/>
          </a:prstGeom>
        </p:spPr>
        <p:txBody>
          <a:bodyPr wrap="square">
            <a:spAutoFit/>
          </a:bodyPr>
          <a:lstStyle/>
          <a:p>
            <a:pPr algn="ctr" fontAlgn="base">
              <a:lnSpc>
                <a:spcPct val="95000"/>
              </a:lnSpc>
              <a:spcBef>
                <a:spcPct val="0"/>
              </a:spcBef>
              <a:spcAft>
                <a:spcPct val="0"/>
              </a:spcAft>
            </a:pPr>
            <a:r>
              <a:rPr lang="de-DE" sz="1200" b="1" smtClean="0">
                <a:solidFill>
                  <a:srgbClr val="000000"/>
                </a:solidFill>
              </a:rPr>
              <a:t>Interim status</a:t>
            </a:r>
            <a:r>
              <a:rPr lang="de-DE" sz="1200" b="1" dirty="0" smtClean="0">
                <a:solidFill>
                  <a:srgbClr val="000000"/>
                </a:solidFill>
              </a:rPr>
              <a:t>: </a:t>
            </a:r>
          </a:p>
          <a:p>
            <a:pPr algn="ctr" fontAlgn="base">
              <a:lnSpc>
                <a:spcPct val="95000"/>
              </a:lnSpc>
              <a:spcBef>
                <a:spcPct val="0"/>
              </a:spcBef>
              <a:spcAft>
                <a:spcPct val="0"/>
              </a:spcAft>
            </a:pPr>
            <a:r>
              <a:rPr lang="de-DE" sz="1200" b="1" smtClean="0">
                <a:solidFill>
                  <a:srgbClr val="000000"/>
                </a:solidFill>
              </a:rPr>
              <a:t>SIV permanent continous testing</a:t>
            </a:r>
            <a:endParaRPr lang="de-DE" sz="1200" dirty="0" smtClean="0">
              <a:solidFill>
                <a:srgbClr val="000000"/>
              </a:solidFill>
            </a:endParaRPr>
          </a:p>
        </p:txBody>
      </p:sp>
      <p:sp>
        <p:nvSpPr>
          <p:cNvPr id="90" name="Rechteck 89"/>
          <p:cNvSpPr/>
          <p:nvPr/>
        </p:nvSpPr>
        <p:spPr>
          <a:xfrm>
            <a:off x="7048799" y="3908533"/>
            <a:ext cx="1555649" cy="969496"/>
          </a:xfrm>
          <a:prstGeom prst="rect">
            <a:avLst/>
          </a:prstGeom>
        </p:spPr>
        <p:txBody>
          <a:bodyPr wrap="square">
            <a:spAutoFit/>
          </a:bodyPr>
          <a:lstStyle/>
          <a:p>
            <a:pPr algn="ctr" fontAlgn="base">
              <a:lnSpc>
                <a:spcPct val="95000"/>
              </a:lnSpc>
              <a:spcBef>
                <a:spcPct val="0"/>
              </a:spcBef>
              <a:spcAft>
                <a:spcPct val="0"/>
              </a:spcAft>
            </a:pPr>
            <a:r>
              <a:rPr lang="de-DE" sz="1200" b="1" dirty="0" err="1" smtClean="0">
                <a:solidFill>
                  <a:srgbClr val="000000"/>
                </a:solidFill>
              </a:rPr>
              <a:t>Completion</a:t>
            </a:r>
            <a:r>
              <a:rPr lang="de-DE" sz="1200" b="1" dirty="0" smtClean="0">
                <a:solidFill>
                  <a:srgbClr val="000000"/>
                </a:solidFill>
              </a:rPr>
              <a:t> </a:t>
            </a:r>
            <a:r>
              <a:rPr lang="de-DE" sz="1200" b="1" dirty="0" err="1" smtClean="0">
                <a:solidFill>
                  <a:srgbClr val="000000"/>
                </a:solidFill>
              </a:rPr>
              <a:t>of</a:t>
            </a:r>
            <a:r>
              <a:rPr lang="de-DE" sz="1200" b="1" dirty="0" smtClean="0">
                <a:solidFill>
                  <a:srgbClr val="000000"/>
                </a:solidFill>
              </a:rPr>
              <a:t> </a:t>
            </a:r>
          </a:p>
          <a:p>
            <a:pPr algn="ctr" fontAlgn="base">
              <a:lnSpc>
                <a:spcPct val="95000"/>
              </a:lnSpc>
              <a:spcBef>
                <a:spcPct val="0"/>
              </a:spcBef>
              <a:spcAft>
                <a:spcPct val="0"/>
              </a:spcAft>
            </a:pPr>
            <a:r>
              <a:rPr lang="de-DE" sz="1200" b="1" dirty="0" smtClean="0">
                <a:solidFill>
                  <a:srgbClr val="000000"/>
                </a:solidFill>
              </a:rPr>
              <a:t>SIV permanent </a:t>
            </a:r>
            <a:r>
              <a:rPr lang="de-DE" sz="1200" b="1" dirty="0" err="1" smtClean="0">
                <a:solidFill>
                  <a:srgbClr val="000000"/>
                </a:solidFill>
              </a:rPr>
              <a:t>contionous</a:t>
            </a:r>
            <a:r>
              <a:rPr lang="de-DE" sz="1200" b="1" dirty="0" smtClean="0">
                <a:solidFill>
                  <a:srgbClr val="000000"/>
                </a:solidFill>
              </a:rPr>
              <a:t> </a:t>
            </a:r>
            <a:r>
              <a:rPr lang="de-DE" sz="1200" b="1" dirty="0" err="1" smtClean="0">
                <a:solidFill>
                  <a:srgbClr val="000000"/>
                </a:solidFill>
              </a:rPr>
              <a:t>testing</a:t>
            </a:r>
            <a:r>
              <a:rPr lang="de-DE" sz="1200" b="1" dirty="0" smtClean="0">
                <a:solidFill>
                  <a:srgbClr val="000000"/>
                </a:solidFill>
              </a:rPr>
              <a:t>/ </a:t>
            </a:r>
            <a:br>
              <a:rPr lang="de-DE" sz="1200" b="1" dirty="0" smtClean="0">
                <a:solidFill>
                  <a:srgbClr val="000000"/>
                </a:solidFill>
              </a:rPr>
            </a:br>
            <a:r>
              <a:rPr lang="de-DE" sz="1200" b="1" dirty="0" err="1" smtClean="0">
                <a:solidFill>
                  <a:srgbClr val="000000"/>
                </a:solidFill>
              </a:rPr>
              <a:t>approval</a:t>
            </a:r>
            <a:r>
              <a:rPr lang="de-DE" sz="1200" b="1" dirty="0" smtClean="0">
                <a:solidFill>
                  <a:srgbClr val="000000"/>
                </a:solidFill>
              </a:rPr>
              <a:t> </a:t>
            </a:r>
            <a:r>
              <a:rPr lang="de-DE" sz="1200" b="1" dirty="0" err="1" smtClean="0">
                <a:solidFill>
                  <a:srgbClr val="000000"/>
                </a:solidFill>
              </a:rPr>
              <a:t>of</a:t>
            </a:r>
            <a:r>
              <a:rPr lang="de-DE" sz="1200" b="1" dirty="0" smtClean="0">
                <a:solidFill>
                  <a:srgbClr val="000000"/>
                </a:solidFill>
              </a:rPr>
              <a:t> </a:t>
            </a:r>
            <a:br>
              <a:rPr lang="de-DE" sz="1200" b="1" dirty="0" smtClean="0">
                <a:solidFill>
                  <a:srgbClr val="000000"/>
                </a:solidFill>
              </a:rPr>
            </a:br>
            <a:r>
              <a:rPr lang="de-DE" sz="1200" b="1" dirty="0" err="1" smtClean="0">
                <a:solidFill>
                  <a:srgbClr val="000000"/>
                </a:solidFill>
              </a:rPr>
              <a:t>maturity</a:t>
            </a:r>
            <a:r>
              <a:rPr lang="de-DE" sz="1200" b="1" dirty="0" smtClean="0">
                <a:solidFill>
                  <a:srgbClr val="000000"/>
                </a:solidFill>
              </a:rPr>
              <a:t> </a:t>
            </a:r>
            <a:r>
              <a:rPr lang="de-DE" sz="1200" b="1" dirty="0" err="1" smtClean="0">
                <a:solidFill>
                  <a:srgbClr val="000000"/>
                </a:solidFill>
              </a:rPr>
              <a:t>step</a:t>
            </a:r>
            <a:endParaRPr lang="de-DE" sz="1200" dirty="0" smtClean="0">
              <a:solidFill>
                <a:srgbClr val="000000"/>
              </a:solidFill>
            </a:endParaRPr>
          </a:p>
        </p:txBody>
      </p:sp>
      <p:pic>
        <p:nvPicPr>
          <p:cNvPr id="91" name="Picture 172"/>
          <p:cNvPicPr>
            <a:picLocks noChangeAspect="1" noChangeArrowheads="1"/>
          </p:cNvPicPr>
          <p:nvPr/>
        </p:nvPicPr>
        <p:blipFill>
          <a:blip r:embed="rId3" cstate="print"/>
          <a:srcRect/>
          <a:stretch>
            <a:fillRect/>
          </a:stretch>
        </p:blipFill>
        <p:spPr bwMode="auto">
          <a:xfrm>
            <a:off x="7227007" y="3016865"/>
            <a:ext cx="1219750" cy="778753"/>
          </a:xfrm>
          <a:prstGeom prst="rect">
            <a:avLst/>
          </a:prstGeom>
          <a:noFill/>
          <a:ln w="9525">
            <a:solidFill>
              <a:schemeClr val="bg2"/>
            </a:solidFill>
            <a:miter lim="800000"/>
            <a:headEnd/>
            <a:tailEnd/>
          </a:ln>
        </p:spPr>
      </p:pic>
      <p:pic>
        <p:nvPicPr>
          <p:cNvPr id="95" name="Picture 172"/>
          <p:cNvPicPr>
            <a:picLocks noChangeAspect="1" noChangeArrowheads="1"/>
          </p:cNvPicPr>
          <p:nvPr/>
        </p:nvPicPr>
        <p:blipFill>
          <a:blip r:embed="rId3" cstate="print"/>
          <a:srcRect/>
          <a:stretch>
            <a:fillRect/>
          </a:stretch>
        </p:blipFill>
        <p:spPr bwMode="auto">
          <a:xfrm>
            <a:off x="3951947" y="5307234"/>
            <a:ext cx="1219750" cy="778753"/>
          </a:xfrm>
          <a:prstGeom prst="rect">
            <a:avLst/>
          </a:prstGeom>
          <a:noFill/>
          <a:ln w="9525">
            <a:solidFill>
              <a:schemeClr val="bg2"/>
            </a:solidFill>
            <a:miter lim="800000"/>
            <a:headEnd/>
            <a:tailEnd/>
          </a:ln>
        </p:spPr>
      </p:pic>
      <p:pic>
        <p:nvPicPr>
          <p:cNvPr id="100" name="Picture 172"/>
          <p:cNvPicPr>
            <a:picLocks noChangeAspect="1" noChangeArrowheads="1"/>
          </p:cNvPicPr>
          <p:nvPr/>
        </p:nvPicPr>
        <p:blipFill>
          <a:blip r:embed="rId4" cstate="print"/>
          <a:srcRect/>
          <a:stretch>
            <a:fillRect/>
          </a:stretch>
        </p:blipFill>
        <p:spPr bwMode="auto">
          <a:xfrm>
            <a:off x="5696746" y="3832576"/>
            <a:ext cx="743464" cy="474666"/>
          </a:xfrm>
          <a:prstGeom prst="rect">
            <a:avLst/>
          </a:prstGeom>
          <a:noFill/>
          <a:ln w="9525">
            <a:solidFill>
              <a:schemeClr val="bg2"/>
            </a:solidFill>
            <a:miter lim="800000"/>
            <a:headEnd/>
            <a:tailEnd/>
          </a:ln>
        </p:spPr>
      </p:pic>
      <p:cxnSp>
        <p:nvCxnSpPr>
          <p:cNvPr id="102" name="Gerade Verbindung 101"/>
          <p:cNvCxnSpPr/>
          <p:nvPr/>
        </p:nvCxnSpPr>
        <p:spPr>
          <a:xfrm>
            <a:off x="500722" y="1864468"/>
            <a:ext cx="0" cy="4661745"/>
          </a:xfrm>
          <a:prstGeom prst="line">
            <a:avLst/>
          </a:prstGeom>
          <a:ln w="28575">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p:nvCxnSpPr>
        <p:spPr>
          <a:xfrm>
            <a:off x="8627422" y="1864468"/>
            <a:ext cx="0" cy="4661745"/>
          </a:xfrm>
          <a:prstGeom prst="line">
            <a:avLst/>
          </a:prstGeom>
          <a:ln w="28575">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ext Box 3"/>
          <p:cNvSpPr txBox="1">
            <a:spLocks noChangeArrowheads="1"/>
          </p:cNvSpPr>
          <p:nvPr/>
        </p:nvSpPr>
        <p:spPr bwMode="auto">
          <a:xfrm>
            <a:off x="7921803" y="1819041"/>
            <a:ext cx="843551" cy="552844"/>
          </a:xfrm>
          <a:prstGeom prst="rect">
            <a:avLst/>
          </a:prstGeom>
          <a:solidFill>
            <a:schemeClr val="bg1"/>
          </a:solidFill>
          <a:ln w="9525">
            <a:noFill/>
            <a:miter lim="800000"/>
            <a:headEnd/>
            <a:tailEnd/>
          </a:ln>
        </p:spPr>
        <p:txBody>
          <a:bodyPr wrap="square">
            <a:spAutoFit/>
          </a:bodyPr>
          <a:lstStyle/>
          <a:p>
            <a:pPr algn="r" fontAlgn="base">
              <a:lnSpc>
                <a:spcPct val="95000"/>
              </a:lnSpc>
              <a:spcBef>
                <a:spcPct val="0"/>
              </a:spcBef>
              <a:spcAft>
                <a:spcPct val="0"/>
              </a:spcAft>
            </a:pPr>
            <a:r>
              <a:rPr lang="de-DE" sz="1050" dirty="0" err="1" smtClean="0">
                <a:solidFill>
                  <a:srgbClr val="000000"/>
                </a:solidFill>
              </a:rPr>
              <a:t>Approval</a:t>
            </a:r>
            <a:r>
              <a:rPr lang="de-DE" sz="1050" dirty="0" smtClean="0">
                <a:solidFill>
                  <a:srgbClr val="000000"/>
                </a:solidFill>
              </a:rPr>
              <a:t> </a:t>
            </a:r>
            <a:r>
              <a:rPr lang="de-DE" sz="1050" dirty="0" err="1" smtClean="0">
                <a:solidFill>
                  <a:srgbClr val="000000"/>
                </a:solidFill>
              </a:rPr>
              <a:t>of</a:t>
            </a:r>
            <a:r>
              <a:rPr lang="de-DE" sz="1050" dirty="0" smtClean="0">
                <a:solidFill>
                  <a:srgbClr val="000000"/>
                </a:solidFill>
              </a:rPr>
              <a:t> </a:t>
            </a:r>
            <a:r>
              <a:rPr lang="de-DE" sz="1050" b="1" dirty="0" err="1" smtClean="0">
                <a:solidFill>
                  <a:srgbClr val="000000"/>
                </a:solidFill>
              </a:rPr>
              <a:t>maturity</a:t>
            </a:r>
            <a:r>
              <a:rPr lang="de-DE" sz="1050" b="1" dirty="0" smtClean="0">
                <a:solidFill>
                  <a:srgbClr val="000000"/>
                </a:solidFill>
              </a:rPr>
              <a:t> </a:t>
            </a:r>
            <a:r>
              <a:rPr lang="de-DE" sz="1050" b="1" dirty="0" err="1" smtClean="0">
                <a:solidFill>
                  <a:srgbClr val="000000"/>
                </a:solidFill>
              </a:rPr>
              <a:t>step</a:t>
            </a:r>
            <a:endParaRPr lang="de-DE" sz="1050" b="1" dirty="0" smtClean="0">
              <a:solidFill>
                <a:srgbClr val="000000"/>
              </a:solidFill>
            </a:endParaRPr>
          </a:p>
        </p:txBody>
      </p:sp>
      <p:sp>
        <p:nvSpPr>
          <p:cNvPr id="54" name="Text Box 3"/>
          <p:cNvSpPr txBox="1">
            <a:spLocks noChangeArrowheads="1"/>
          </p:cNvSpPr>
          <p:nvPr/>
        </p:nvSpPr>
        <p:spPr bwMode="auto">
          <a:xfrm>
            <a:off x="323528" y="1819041"/>
            <a:ext cx="2537381" cy="552844"/>
          </a:xfrm>
          <a:prstGeom prst="rect">
            <a:avLst/>
          </a:prstGeom>
          <a:solidFill>
            <a:srgbClr val="FFFFFF"/>
          </a:solidFill>
          <a:ln w="9525">
            <a:noFill/>
            <a:miter lim="800000"/>
            <a:headEnd/>
            <a:tailEnd/>
          </a:ln>
        </p:spPr>
        <p:txBody>
          <a:bodyPr wrap="square">
            <a:spAutoFit/>
          </a:bodyPr>
          <a:lstStyle/>
          <a:p>
            <a:pPr fontAlgn="base">
              <a:lnSpc>
                <a:spcPct val="95000"/>
              </a:lnSpc>
              <a:spcBef>
                <a:spcPct val="0"/>
              </a:spcBef>
              <a:spcAft>
                <a:spcPct val="0"/>
              </a:spcAft>
            </a:pPr>
            <a:r>
              <a:rPr lang="de-DE" sz="1050" dirty="0" smtClean="0">
                <a:solidFill>
                  <a:srgbClr val="000000"/>
                </a:solidFill>
              </a:rPr>
              <a:t>Kick-Off </a:t>
            </a:r>
            <a:br>
              <a:rPr lang="de-DE" sz="1050" dirty="0" smtClean="0">
                <a:solidFill>
                  <a:srgbClr val="000000"/>
                </a:solidFill>
              </a:rPr>
            </a:br>
            <a:r>
              <a:rPr lang="de-DE" sz="1050" b="1" dirty="0" err="1" smtClean="0">
                <a:solidFill>
                  <a:srgbClr val="000000"/>
                </a:solidFill>
              </a:rPr>
              <a:t>Maturity</a:t>
            </a:r>
            <a:r>
              <a:rPr lang="de-DE" sz="1050" b="1" dirty="0" smtClean="0">
                <a:solidFill>
                  <a:srgbClr val="000000"/>
                </a:solidFill>
              </a:rPr>
              <a:t> </a:t>
            </a:r>
            <a:r>
              <a:rPr lang="de-DE" sz="1050" b="1" dirty="0" err="1" smtClean="0">
                <a:solidFill>
                  <a:srgbClr val="000000"/>
                </a:solidFill>
              </a:rPr>
              <a:t>step</a:t>
            </a:r>
            <a:r>
              <a:rPr lang="de-DE" sz="1050" b="1" dirty="0" smtClean="0">
                <a:solidFill>
                  <a:srgbClr val="000000"/>
                </a:solidFill>
              </a:rPr>
              <a:t>/</a:t>
            </a:r>
          </a:p>
          <a:p>
            <a:pPr fontAlgn="base">
              <a:lnSpc>
                <a:spcPct val="95000"/>
              </a:lnSpc>
              <a:spcBef>
                <a:spcPct val="0"/>
              </a:spcBef>
              <a:spcAft>
                <a:spcPct val="0"/>
              </a:spcAft>
            </a:pPr>
            <a:r>
              <a:rPr lang="de-DE" sz="1050" dirty="0" smtClean="0">
                <a:solidFill>
                  <a:srgbClr val="000000"/>
                </a:solidFill>
              </a:rPr>
              <a:t>Preview </a:t>
            </a:r>
            <a:r>
              <a:rPr lang="de-DE" sz="1050" b="1" dirty="0" err="1" smtClean="0">
                <a:solidFill>
                  <a:srgbClr val="000000"/>
                </a:solidFill>
              </a:rPr>
              <a:t>Maturity</a:t>
            </a:r>
            <a:r>
              <a:rPr lang="de-DE" sz="1050" b="1" dirty="0" smtClean="0">
                <a:solidFill>
                  <a:srgbClr val="000000"/>
                </a:solidFill>
              </a:rPr>
              <a:t> Level </a:t>
            </a:r>
            <a:r>
              <a:rPr lang="de-DE" sz="1050" b="1" dirty="0" err="1" smtClean="0">
                <a:solidFill>
                  <a:srgbClr val="000000"/>
                </a:solidFill>
              </a:rPr>
              <a:t>planning</a:t>
            </a:r>
            <a:endParaRPr lang="de-DE" sz="1050" dirty="0" smtClean="0">
              <a:solidFill>
                <a:srgbClr val="000000"/>
              </a:solidFill>
            </a:endParaRPr>
          </a:p>
        </p:txBody>
      </p:sp>
      <p:sp>
        <p:nvSpPr>
          <p:cNvPr id="67" name="Text Box 3"/>
          <p:cNvSpPr txBox="1">
            <a:spLocks noChangeArrowheads="1"/>
          </p:cNvSpPr>
          <p:nvPr/>
        </p:nvSpPr>
        <p:spPr bwMode="auto">
          <a:xfrm>
            <a:off x="4590319" y="1819041"/>
            <a:ext cx="1464213" cy="399340"/>
          </a:xfrm>
          <a:prstGeom prst="rect">
            <a:avLst/>
          </a:prstGeom>
          <a:solidFill>
            <a:schemeClr val="bg1"/>
          </a:solidFill>
          <a:ln w="9525">
            <a:noFill/>
            <a:miter lim="800000"/>
            <a:headEnd/>
            <a:tailEnd/>
          </a:ln>
        </p:spPr>
        <p:txBody>
          <a:bodyPr wrap="square">
            <a:spAutoFit/>
          </a:bodyPr>
          <a:lstStyle/>
          <a:p>
            <a:pPr algn="ctr" fontAlgn="base">
              <a:lnSpc>
                <a:spcPct val="95000"/>
              </a:lnSpc>
              <a:spcBef>
                <a:spcPct val="0"/>
              </a:spcBef>
              <a:spcAft>
                <a:spcPct val="0"/>
              </a:spcAft>
            </a:pPr>
            <a:r>
              <a:rPr lang="de-DE" sz="1050" smtClean="0">
                <a:solidFill>
                  <a:srgbClr val="000000"/>
                </a:solidFill>
              </a:rPr>
              <a:t>Construction of </a:t>
            </a:r>
            <a:endParaRPr lang="de-DE" sz="1050" dirty="0" smtClean="0">
              <a:solidFill>
                <a:srgbClr val="000000"/>
              </a:solidFill>
            </a:endParaRPr>
          </a:p>
          <a:p>
            <a:pPr algn="ctr" fontAlgn="base">
              <a:lnSpc>
                <a:spcPct val="95000"/>
              </a:lnSpc>
              <a:spcBef>
                <a:spcPct val="0"/>
              </a:spcBef>
              <a:spcAft>
                <a:spcPct val="0"/>
              </a:spcAft>
            </a:pPr>
            <a:r>
              <a:rPr lang="de-DE" sz="1050" b="1" smtClean="0">
                <a:solidFill>
                  <a:srgbClr val="000000"/>
                </a:solidFill>
              </a:rPr>
              <a:t>prototype</a:t>
            </a:r>
            <a:endParaRPr lang="de-DE" sz="1050" b="1" dirty="0" smtClean="0">
              <a:solidFill>
                <a:srgbClr val="000000"/>
              </a:solidFill>
            </a:endParaRPr>
          </a:p>
        </p:txBody>
      </p:sp>
      <p:sp>
        <p:nvSpPr>
          <p:cNvPr id="68" name="Text Box 3"/>
          <p:cNvSpPr txBox="1">
            <a:spLocks noChangeArrowheads="1"/>
          </p:cNvSpPr>
          <p:nvPr/>
        </p:nvSpPr>
        <p:spPr bwMode="auto">
          <a:xfrm>
            <a:off x="4111643" y="1819041"/>
            <a:ext cx="863386" cy="552844"/>
          </a:xfrm>
          <a:prstGeom prst="rect">
            <a:avLst/>
          </a:prstGeom>
          <a:noFill/>
          <a:ln w="9525">
            <a:noFill/>
            <a:miter lim="800000"/>
            <a:headEnd/>
            <a:tailEnd/>
          </a:ln>
        </p:spPr>
        <p:txBody>
          <a:bodyPr wrap="square">
            <a:spAutoFit/>
          </a:bodyPr>
          <a:lstStyle/>
          <a:p>
            <a:pPr algn="ctr" fontAlgn="base">
              <a:lnSpc>
                <a:spcPct val="95000"/>
              </a:lnSpc>
              <a:spcBef>
                <a:spcPct val="0"/>
              </a:spcBef>
              <a:spcAft>
                <a:spcPct val="0"/>
              </a:spcAft>
            </a:pPr>
            <a:r>
              <a:rPr lang="de-DE" sz="1050" smtClean="0">
                <a:solidFill>
                  <a:srgbClr val="000000"/>
                </a:solidFill>
              </a:rPr>
              <a:t>Completion</a:t>
            </a:r>
            <a:br>
              <a:rPr lang="de-DE" sz="1050" smtClean="0">
                <a:solidFill>
                  <a:srgbClr val="000000"/>
                </a:solidFill>
              </a:rPr>
            </a:br>
            <a:r>
              <a:rPr lang="de-DE" sz="1050" b="1" smtClean="0">
                <a:solidFill>
                  <a:srgbClr val="000000"/>
                </a:solidFill>
              </a:rPr>
              <a:t>Maturity Le-vel Planning</a:t>
            </a:r>
            <a:endParaRPr lang="de-DE" sz="1050" b="1" dirty="0" smtClean="0">
              <a:solidFill>
                <a:srgbClr val="000000"/>
              </a:solidFill>
            </a:endParaRPr>
          </a:p>
        </p:txBody>
      </p:sp>
      <p:sp>
        <p:nvSpPr>
          <p:cNvPr id="57" name="AutoShape 15"/>
          <p:cNvSpPr>
            <a:spLocks noChangeArrowheads="1"/>
          </p:cNvSpPr>
          <p:nvPr/>
        </p:nvSpPr>
        <p:spPr bwMode="auto">
          <a:xfrm>
            <a:off x="399827" y="1655147"/>
            <a:ext cx="238578" cy="209321"/>
          </a:xfrm>
          <a:prstGeom prst="flowChartDecisi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pPr>
            <a:endParaRPr lang="de-DE" dirty="0">
              <a:solidFill>
                <a:schemeClr val="lt1"/>
              </a:solidFill>
            </a:endParaRPr>
          </a:p>
        </p:txBody>
      </p:sp>
      <p:sp>
        <p:nvSpPr>
          <p:cNvPr id="65" name="AutoShape 15"/>
          <p:cNvSpPr>
            <a:spLocks noChangeArrowheads="1"/>
          </p:cNvSpPr>
          <p:nvPr/>
        </p:nvSpPr>
        <p:spPr bwMode="auto">
          <a:xfrm>
            <a:off x="5177847" y="1655147"/>
            <a:ext cx="238578" cy="209321"/>
          </a:xfrm>
          <a:prstGeom prst="flowChartDecisi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pPr>
            <a:endParaRPr lang="de-DE" dirty="0"/>
          </a:p>
        </p:txBody>
      </p:sp>
      <p:sp>
        <p:nvSpPr>
          <p:cNvPr id="58" name="AutoShape 15"/>
          <p:cNvSpPr>
            <a:spLocks noChangeArrowheads="1"/>
          </p:cNvSpPr>
          <p:nvPr/>
        </p:nvSpPr>
        <p:spPr bwMode="auto">
          <a:xfrm>
            <a:off x="8499081" y="1655147"/>
            <a:ext cx="238578" cy="209321"/>
          </a:xfrm>
          <a:prstGeom prst="flowChartDecisi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pPr>
            <a:endParaRPr lang="de-DE" dirty="0"/>
          </a:p>
        </p:txBody>
      </p:sp>
      <p:sp>
        <p:nvSpPr>
          <p:cNvPr id="69" name="AutoShape 15"/>
          <p:cNvSpPr>
            <a:spLocks noChangeArrowheads="1"/>
          </p:cNvSpPr>
          <p:nvPr/>
        </p:nvSpPr>
        <p:spPr bwMode="auto">
          <a:xfrm>
            <a:off x="4424296" y="1655147"/>
            <a:ext cx="238578" cy="209321"/>
          </a:xfrm>
          <a:prstGeom prst="flowChartDecision">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pPr>
            <a:endParaRPr lang="de-DE" dirty="0"/>
          </a:p>
        </p:txBody>
      </p:sp>
      <p:sp>
        <p:nvSpPr>
          <p:cNvPr id="107" name="Raute 106"/>
          <p:cNvSpPr/>
          <p:nvPr/>
        </p:nvSpPr>
        <p:spPr>
          <a:xfrm>
            <a:off x="1148302" y="2326990"/>
            <a:ext cx="268373" cy="252000"/>
          </a:xfrm>
          <a:prstGeom prst="diamond">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8" name="Raute 107"/>
          <p:cNvSpPr/>
          <p:nvPr/>
        </p:nvSpPr>
        <p:spPr>
          <a:xfrm>
            <a:off x="4424604" y="2326990"/>
            <a:ext cx="268373" cy="252000"/>
          </a:xfrm>
          <a:prstGeom prst="diamond">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9" name="Raute 108"/>
          <p:cNvSpPr/>
          <p:nvPr/>
        </p:nvSpPr>
        <p:spPr>
          <a:xfrm>
            <a:off x="7700905" y="2326990"/>
            <a:ext cx="268373" cy="252000"/>
          </a:xfrm>
          <a:prstGeom prst="diamond">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1" name="Raute 110"/>
          <p:cNvSpPr/>
          <p:nvPr/>
        </p:nvSpPr>
        <p:spPr>
          <a:xfrm>
            <a:off x="2956099" y="2380990"/>
            <a:ext cx="153356" cy="144000"/>
          </a:xfrm>
          <a:prstGeom prst="diamond">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0" name="Raute 119"/>
          <p:cNvSpPr/>
          <p:nvPr/>
        </p:nvSpPr>
        <p:spPr>
          <a:xfrm>
            <a:off x="5990873" y="2380990"/>
            <a:ext cx="153356" cy="144000"/>
          </a:xfrm>
          <a:prstGeom prst="diamond">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9" name="Rechteck 128"/>
          <p:cNvSpPr/>
          <p:nvPr/>
        </p:nvSpPr>
        <p:spPr>
          <a:xfrm>
            <a:off x="765770" y="2524990"/>
            <a:ext cx="1037148" cy="384721"/>
          </a:xfrm>
          <a:prstGeom prst="rect">
            <a:avLst/>
          </a:prstGeom>
        </p:spPr>
        <p:txBody>
          <a:bodyPr wrap="square">
            <a:spAutoFit/>
          </a:bodyPr>
          <a:lstStyle/>
          <a:p>
            <a:pPr algn="ctr" fontAlgn="base">
              <a:lnSpc>
                <a:spcPct val="95000"/>
              </a:lnSpc>
              <a:spcBef>
                <a:spcPct val="0"/>
              </a:spcBef>
              <a:spcAft>
                <a:spcPct val="0"/>
              </a:spcAft>
            </a:pPr>
            <a:r>
              <a:rPr lang="de-DE" sz="1000" b="1" smtClean="0">
                <a:solidFill>
                  <a:srgbClr val="C00000"/>
                </a:solidFill>
              </a:rPr>
              <a:t>Main reporting point</a:t>
            </a:r>
            <a:endParaRPr lang="de-DE" sz="1000" b="1" dirty="0" smtClean="0">
              <a:solidFill>
                <a:srgbClr val="C00000"/>
              </a:solidFill>
            </a:endParaRPr>
          </a:p>
        </p:txBody>
      </p:sp>
      <p:sp>
        <p:nvSpPr>
          <p:cNvPr id="130" name="Rechteck 129"/>
          <p:cNvSpPr/>
          <p:nvPr/>
        </p:nvSpPr>
        <p:spPr>
          <a:xfrm>
            <a:off x="4043248" y="2524990"/>
            <a:ext cx="1037148" cy="384721"/>
          </a:xfrm>
          <a:prstGeom prst="rect">
            <a:avLst/>
          </a:prstGeom>
        </p:spPr>
        <p:txBody>
          <a:bodyPr wrap="square">
            <a:spAutoFit/>
          </a:bodyPr>
          <a:lstStyle/>
          <a:p>
            <a:pPr algn="ctr" fontAlgn="base">
              <a:lnSpc>
                <a:spcPct val="95000"/>
              </a:lnSpc>
              <a:spcBef>
                <a:spcPct val="0"/>
              </a:spcBef>
              <a:spcAft>
                <a:spcPct val="0"/>
              </a:spcAft>
            </a:pPr>
            <a:r>
              <a:rPr lang="de-DE" sz="1000" b="1" smtClean="0">
                <a:solidFill>
                  <a:srgbClr val="C00000"/>
                </a:solidFill>
              </a:rPr>
              <a:t>Main reporting point</a:t>
            </a:r>
            <a:endParaRPr lang="de-DE" sz="1000" b="1" dirty="0" smtClean="0">
              <a:solidFill>
                <a:srgbClr val="C00000"/>
              </a:solidFill>
            </a:endParaRPr>
          </a:p>
        </p:txBody>
      </p:sp>
      <p:sp>
        <p:nvSpPr>
          <p:cNvPr id="131" name="Rechteck 130"/>
          <p:cNvSpPr/>
          <p:nvPr/>
        </p:nvSpPr>
        <p:spPr>
          <a:xfrm>
            <a:off x="7316969" y="2524990"/>
            <a:ext cx="1037148" cy="384721"/>
          </a:xfrm>
          <a:prstGeom prst="rect">
            <a:avLst/>
          </a:prstGeom>
        </p:spPr>
        <p:txBody>
          <a:bodyPr wrap="square">
            <a:spAutoFit/>
          </a:bodyPr>
          <a:lstStyle/>
          <a:p>
            <a:pPr algn="ctr" fontAlgn="base">
              <a:lnSpc>
                <a:spcPct val="95000"/>
              </a:lnSpc>
              <a:spcBef>
                <a:spcPct val="0"/>
              </a:spcBef>
              <a:spcAft>
                <a:spcPct val="0"/>
              </a:spcAft>
            </a:pPr>
            <a:r>
              <a:rPr lang="de-DE" sz="1000" b="1" smtClean="0">
                <a:solidFill>
                  <a:srgbClr val="C00000"/>
                </a:solidFill>
              </a:rPr>
              <a:t>Main reporting point</a:t>
            </a:r>
            <a:endParaRPr lang="de-DE" sz="1000" b="1" dirty="0" smtClean="0">
              <a:solidFill>
                <a:srgbClr val="C00000"/>
              </a:solidFill>
            </a:endParaRPr>
          </a:p>
        </p:txBody>
      </p:sp>
      <p:sp>
        <p:nvSpPr>
          <p:cNvPr id="133" name="Rechteck 132"/>
          <p:cNvSpPr/>
          <p:nvPr/>
        </p:nvSpPr>
        <p:spPr>
          <a:xfrm>
            <a:off x="2327760" y="2524990"/>
            <a:ext cx="1424870" cy="384721"/>
          </a:xfrm>
          <a:prstGeom prst="rect">
            <a:avLst/>
          </a:prstGeom>
        </p:spPr>
        <p:txBody>
          <a:bodyPr wrap="square">
            <a:spAutoFit/>
          </a:bodyPr>
          <a:lstStyle/>
          <a:p>
            <a:pPr algn="ctr" fontAlgn="base">
              <a:lnSpc>
                <a:spcPct val="95000"/>
              </a:lnSpc>
              <a:spcBef>
                <a:spcPct val="0"/>
              </a:spcBef>
              <a:spcAft>
                <a:spcPct val="0"/>
              </a:spcAft>
            </a:pPr>
            <a:r>
              <a:rPr lang="de-DE" sz="1000" b="1" smtClean="0">
                <a:solidFill>
                  <a:srgbClr val="C00000"/>
                </a:solidFill>
              </a:rPr>
              <a:t>Interim report </a:t>
            </a:r>
            <a:br>
              <a:rPr lang="de-DE" sz="1000" b="1" smtClean="0">
                <a:solidFill>
                  <a:srgbClr val="C00000"/>
                </a:solidFill>
              </a:rPr>
            </a:br>
            <a:r>
              <a:rPr lang="de-DE" sz="1000" b="1" smtClean="0">
                <a:solidFill>
                  <a:srgbClr val="C00000"/>
                </a:solidFill>
              </a:rPr>
              <a:t>(if required)</a:t>
            </a:r>
            <a:endParaRPr lang="de-DE" sz="1000" b="1" dirty="0" smtClean="0">
              <a:solidFill>
                <a:srgbClr val="C00000"/>
              </a:solidFill>
            </a:endParaRPr>
          </a:p>
        </p:txBody>
      </p:sp>
      <p:sp>
        <p:nvSpPr>
          <p:cNvPr id="134" name="Rechteck 133"/>
          <p:cNvSpPr/>
          <p:nvPr/>
        </p:nvSpPr>
        <p:spPr>
          <a:xfrm>
            <a:off x="5356043" y="2524990"/>
            <a:ext cx="1424870" cy="384721"/>
          </a:xfrm>
          <a:prstGeom prst="rect">
            <a:avLst/>
          </a:prstGeom>
        </p:spPr>
        <p:txBody>
          <a:bodyPr wrap="square">
            <a:spAutoFit/>
          </a:bodyPr>
          <a:lstStyle/>
          <a:p>
            <a:pPr algn="ctr" fontAlgn="base">
              <a:lnSpc>
                <a:spcPct val="95000"/>
              </a:lnSpc>
              <a:spcBef>
                <a:spcPct val="0"/>
              </a:spcBef>
              <a:spcAft>
                <a:spcPct val="0"/>
              </a:spcAft>
            </a:pPr>
            <a:r>
              <a:rPr lang="de-DE" sz="1000" b="1" smtClean="0">
                <a:solidFill>
                  <a:srgbClr val="C00000"/>
                </a:solidFill>
              </a:rPr>
              <a:t>Interim report </a:t>
            </a:r>
            <a:br>
              <a:rPr lang="de-DE" sz="1000" b="1" smtClean="0">
                <a:solidFill>
                  <a:srgbClr val="C00000"/>
                </a:solidFill>
              </a:rPr>
            </a:br>
            <a:r>
              <a:rPr lang="de-DE" sz="1000" b="1" smtClean="0">
                <a:solidFill>
                  <a:srgbClr val="C00000"/>
                </a:solidFill>
              </a:rPr>
              <a:t>(if required)</a:t>
            </a:r>
            <a:endParaRPr lang="de-DE" sz="1000" b="1" dirty="0" smtClean="0">
              <a:solidFill>
                <a:srgbClr val="C00000"/>
              </a:solidFill>
            </a:endParaRPr>
          </a:p>
        </p:txBody>
      </p:sp>
      <p:cxnSp>
        <p:nvCxnSpPr>
          <p:cNvPr id="53" name="Gerade Verbindung 52"/>
          <p:cNvCxnSpPr>
            <a:stCxn id="129" idx="2"/>
            <a:endCxn id="76" idx="0"/>
          </p:cNvCxnSpPr>
          <p:nvPr/>
        </p:nvCxnSpPr>
        <p:spPr>
          <a:xfrm flipH="1">
            <a:off x="1282488" y="2909711"/>
            <a:ext cx="1856" cy="107154"/>
          </a:xfrm>
          <a:prstGeom prst="line">
            <a:avLst/>
          </a:prstGeom>
          <a:ln w="28575">
            <a:solidFill>
              <a:srgbClr val="C0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Gerade Verbindung 59"/>
          <p:cNvCxnSpPr>
            <a:stCxn id="133" idx="2"/>
            <a:endCxn id="78" idx="0"/>
          </p:cNvCxnSpPr>
          <p:nvPr/>
        </p:nvCxnSpPr>
        <p:spPr>
          <a:xfrm flipH="1">
            <a:off x="3037770" y="2909711"/>
            <a:ext cx="2425" cy="922865"/>
          </a:xfrm>
          <a:prstGeom prst="line">
            <a:avLst/>
          </a:prstGeom>
          <a:ln w="28575">
            <a:solidFill>
              <a:srgbClr val="C0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Gerade Verbindung 62"/>
          <p:cNvCxnSpPr>
            <a:stCxn id="130" idx="2"/>
            <a:endCxn id="95" idx="0"/>
          </p:cNvCxnSpPr>
          <p:nvPr/>
        </p:nvCxnSpPr>
        <p:spPr>
          <a:xfrm>
            <a:off x="4561822" y="2909711"/>
            <a:ext cx="0" cy="2397523"/>
          </a:xfrm>
          <a:prstGeom prst="line">
            <a:avLst/>
          </a:prstGeom>
          <a:ln w="28575">
            <a:solidFill>
              <a:srgbClr val="C0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Gerade Verbindung 70"/>
          <p:cNvCxnSpPr>
            <a:stCxn id="134" idx="2"/>
            <a:endCxn id="100" idx="0"/>
          </p:cNvCxnSpPr>
          <p:nvPr/>
        </p:nvCxnSpPr>
        <p:spPr>
          <a:xfrm>
            <a:off x="6068478" y="2909711"/>
            <a:ext cx="0" cy="922865"/>
          </a:xfrm>
          <a:prstGeom prst="line">
            <a:avLst/>
          </a:prstGeom>
          <a:ln w="28575">
            <a:solidFill>
              <a:srgbClr val="C0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Gerade Verbindung 73"/>
          <p:cNvCxnSpPr>
            <a:stCxn id="131" idx="2"/>
            <a:endCxn id="91" idx="0"/>
          </p:cNvCxnSpPr>
          <p:nvPr/>
        </p:nvCxnSpPr>
        <p:spPr>
          <a:xfrm>
            <a:off x="7835543" y="2909711"/>
            <a:ext cx="1339" cy="107154"/>
          </a:xfrm>
          <a:prstGeom prst="line">
            <a:avLst/>
          </a:prstGeom>
          <a:ln w="28575">
            <a:solidFill>
              <a:srgbClr val="C0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Fußzeilenplatzhalter 1"/>
          <p:cNvSpPr>
            <a:spLocks noGrp="1"/>
          </p:cNvSpPr>
          <p:nvPr>
            <p:ph type="ftr" sz="quarter" idx="10"/>
          </p:nvPr>
        </p:nvSpPr>
        <p:spPr>
          <a:xfrm>
            <a:off x="468312" y="6526213"/>
            <a:ext cx="4093509" cy="331787"/>
          </a:xfrm>
        </p:spPr>
        <p:txBody>
          <a:bodyPr/>
          <a:lstStyle/>
          <a:p>
            <a:pPr algn="l"/>
            <a:r>
              <a:rPr lang="de-DE" smtClean="0"/>
              <a:t>Maturity Level Management Total Vehicle, Communication, Version 4.2</a:t>
            </a:r>
            <a:endParaRPr lang="de-DE" dirty="0"/>
          </a:p>
        </p:txBody>
      </p:sp>
      <p:sp>
        <p:nvSpPr>
          <p:cNvPr id="47" name="Foliennummernplatzhalter 27"/>
          <p:cNvSpPr txBox="1">
            <a:spLocks/>
          </p:cNvSpPr>
          <p:nvPr/>
        </p:nvSpPr>
        <p:spPr>
          <a:xfrm>
            <a:off x="6553200" y="6528871"/>
            <a:ext cx="2124075" cy="329130"/>
          </a:xfrm>
          <a:prstGeom prst="rect">
            <a:avLst/>
          </a:prstGeom>
        </p:spPr>
        <p:txBody>
          <a:bodyPr vert="horz"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chemeClr val="tx1"/>
                </a:solidFill>
                <a:effectLst/>
                <a:uLnTx/>
                <a:uFillTx/>
                <a:latin typeface="+mn-lt"/>
                <a:ea typeface="+mn-ea"/>
                <a:cs typeface="+mn-cs"/>
              </a:rPr>
              <a:t>Slide </a:t>
            </a:r>
            <a:fld id="{AA807A42-CF27-4B84-8583-18EBE418342E}" type="slidenum">
              <a:rPr kumimoji="0" lang="de-DE"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DE" sz="9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xmlns="" val="359041107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sz="quarter" idx="13"/>
          </p:nvPr>
        </p:nvSpPr>
        <p:spPr/>
        <p:txBody>
          <a:bodyPr/>
          <a:lstStyle/>
          <a:p>
            <a:r>
              <a:rPr lang="de-DE" smtClean="0"/>
              <a:t>RGM results and Instruments are </a:t>
            </a:r>
          </a:p>
          <a:p>
            <a:r>
              <a:rPr lang="de-DE" smtClean="0"/>
              <a:t>transferred in vehicle projects by means </a:t>
            </a:r>
          </a:p>
          <a:p>
            <a:r>
              <a:rPr lang="de-DE" smtClean="0"/>
              <a:t>of 4 Transfer Workshops.</a:t>
            </a:r>
            <a:endParaRPr lang="de-DE" dirty="0" smtClean="0"/>
          </a:p>
          <a:p>
            <a:endParaRPr lang="de-DE" dirty="0"/>
          </a:p>
        </p:txBody>
      </p:sp>
      <p:sp>
        <p:nvSpPr>
          <p:cNvPr id="6" name="Abgerundetes Rechteck 5"/>
          <p:cNvSpPr/>
          <p:nvPr/>
        </p:nvSpPr>
        <p:spPr>
          <a:xfrm>
            <a:off x="3707904" y="2771100"/>
            <a:ext cx="1787201" cy="1666012"/>
          </a:xfrm>
          <a:prstGeom prst="roundRect">
            <a:avLst/>
          </a:prstGeom>
          <a:solidFill>
            <a:schemeClr val="bg2">
              <a:lumMod val="60000"/>
              <a:lumOff val="40000"/>
            </a:schemeClr>
          </a:solid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88900" indent="-3175" algn="ctr">
              <a:spcAft>
                <a:spcPts val="1000"/>
              </a:spcAft>
            </a:pPr>
            <a:endParaRPr lang="de-DE" sz="1600" b="1" dirty="0" smtClean="0">
              <a:solidFill>
                <a:schemeClr val="tx1"/>
              </a:solidFill>
            </a:endParaRPr>
          </a:p>
        </p:txBody>
      </p:sp>
      <p:sp>
        <p:nvSpPr>
          <p:cNvPr id="7" name="Rectangle 5"/>
          <p:cNvSpPr>
            <a:spLocks noChangeArrowheads="1"/>
          </p:cNvSpPr>
          <p:nvPr/>
        </p:nvSpPr>
        <p:spPr bwMode="auto">
          <a:xfrm>
            <a:off x="4245098" y="3567104"/>
            <a:ext cx="252000" cy="108000"/>
          </a:xfrm>
          <a:prstGeom prst="rect">
            <a:avLst/>
          </a:prstGeom>
          <a:solidFill>
            <a:schemeClr val="bg2">
              <a:lumMod val="50000"/>
            </a:schemeClr>
          </a:solidFill>
          <a:ln>
            <a:solidFill>
              <a:schemeClr val="bg1"/>
            </a:solidFill>
          </a:ln>
          <a:effectLst/>
          <a:extLst/>
        </p:spPr>
        <p:txBody>
          <a:bodyPr wrap="none" lIns="0" tIns="0" rIns="0" bIns="0" anchor="ctr"/>
          <a:lstStyle/>
          <a:p>
            <a:endParaRPr lang="en-US" dirty="0">
              <a:latin typeface="Helvetica" pitchFamily="34" charset="0"/>
            </a:endParaRPr>
          </a:p>
        </p:txBody>
      </p:sp>
      <p:sp>
        <p:nvSpPr>
          <p:cNvPr id="8" name="Rectangle 5"/>
          <p:cNvSpPr>
            <a:spLocks noChangeArrowheads="1"/>
          </p:cNvSpPr>
          <p:nvPr/>
        </p:nvSpPr>
        <p:spPr bwMode="auto">
          <a:xfrm>
            <a:off x="4490978" y="3803894"/>
            <a:ext cx="252000" cy="108000"/>
          </a:xfrm>
          <a:prstGeom prst="rect">
            <a:avLst/>
          </a:prstGeom>
          <a:solidFill>
            <a:schemeClr val="bg2">
              <a:lumMod val="50000"/>
            </a:schemeClr>
          </a:solidFill>
          <a:ln>
            <a:solidFill>
              <a:schemeClr val="bg1"/>
            </a:solidFill>
          </a:ln>
          <a:effectLst/>
          <a:extLst/>
        </p:spPr>
        <p:txBody>
          <a:bodyPr wrap="none" lIns="0" tIns="0" rIns="0" bIns="0" anchor="ctr"/>
          <a:lstStyle/>
          <a:p>
            <a:endParaRPr lang="en-US" dirty="0">
              <a:latin typeface="Helvetica" pitchFamily="34" charset="0"/>
            </a:endParaRPr>
          </a:p>
        </p:txBody>
      </p:sp>
      <p:sp>
        <p:nvSpPr>
          <p:cNvPr id="9" name="Rectangle 5"/>
          <p:cNvSpPr>
            <a:spLocks noChangeArrowheads="1"/>
          </p:cNvSpPr>
          <p:nvPr/>
        </p:nvSpPr>
        <p:spPr bwMode="auto">
          <a:xfrm>
            <a:off x="4740158" y="4029245"/>
            <a:ext cx="252000" cy="108000"/>
          </a:xfrm>
          <a:prstGeom prst="rect">
            <a:avLst/>
          </a:prstGeom>
          <a:solidFill>
            <a:schemeClr val="bg2">
              <a:lumMod val="50000"/>
            </a:schemeClr>
          </a:solidFill>
          <a:ln>
            <a:solidFill>
              <a:schemeClr val="bg1"/>
            </a:solidFill>
          </a:ln>
          <a:effectLst/>
          <a:extLst/>
        </p:spPr>
        <p:txBody>
          <a:bodyPr wrap="none" lIns="0" tIns="0" rIns="0" bIns="0" anchor="ctr"/>
          <a:lstStyle/>
          <a:p>
            <a:endParaRPr lang="en-US" dirty="0">
              <a:latin typeface="Helvetica" pitchFamily="34" charset="0"/>
            </a:endParaRPr>
          </a:p>
        </p:txBody>
      </p:sp>
      <p:sp>
        <p:nvSpPr>
          <p:cNvPr id="10" name="Rechteck 9"/>
          <p:cNvSpPr/>
          <p:nvPr/>
        </p:nvSpPr>
        <p:spPr>
          <a:xfrm>
            <a:off x="3874583" y="2771100"/>
            <a:ext cx="1620522" cy="584775"/>
          </a:xfrm>
          <a:prstGeom prst="rect">
            <a:avLst/>
          </a:prstGeom>
        </p:spPr>
        <p:txBody>
          <a:bodyPr wrap="square">
            <a:spAutoFit/>
          </a:bodyPr>
          <a:lstStyle/>
          <a:p>
            <a:pPr marL="88900" lvl="0" indent="-3175" algn="ctr">
              <a:spcAft>
                <a:spcPts val="1000"/>
              </a:spcAft>
            </a:pPr>
            <a:r>
              <a:rPr lang="de-DE" sz="1600" b="1" smtClean="0">
                <a:solidFill>
                  <a:prstClr val="black"/>
                </a:solidFill>
              </a:rPr>
              <a:t>Transfer </a:t>
            </a:r>
            <a:r>
              <a:rPr lang="de-DE" sz="1600" b="1" dirty="0" smtClean="0">
                <a:solidFill>
                  <a:prstClr val="black"/>
                </a:solidFill>
              </a:rPr>
              <a:t/>
            </a:r>
            <a:br>
              <a:rPr lang="de-DE" sz="1600" b="1" dirty="0" smtClean="0">
                <a:solidFill>
                  <a:prstClr val="black"/>
                </a:solidFill>
              </a:rPr>
            </a:br>
            <a:r>
              <a:rPr lang="de-DE" sz="1600" b="1" dirty="0" smtClean="0">
                <a:solidFill>
                  <a:prstClr val="black"/>
                </a:solidFill>
              </a:rPr>
              <a:t>Workshops</a:t>
            </a:r>
          </a:p>
        </p:txBody>
      </p:sp>
      <p:sp>
        <p:nvSpPr>
          <p:cNvPr id="11" name="Geschweifte Klammer rechts 10"/>
          <p:cNvSpPr/>
          <p:nvPr/>
        </p:nvSpPr>
        <p:spPr>
          <a:xfrm rot="16200000">
            <a:off x="4641644" y="2843955"/>
            <a:ext cx="216000" cy="1188000"/>
          </a:xfrm>
          <a:prstGeom prst="rightBrace">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3" name="Abgerundetes Rechteck 12"/>
          <p:cNvSpPr/>
          <p:nvPr/>
        </p:nvSpPr>
        <p:spPr>
          <a:xfrm>
            <a:off x="468312" y="1700213"/>
            <a:ext cx="3167583" cy="1820209"/>
          </a:xfrm>
          <a:prstGeom prst="roundRect">
            <a:avLst>
              <a:gd name="adj" fmla="val 8418"/>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68288"/>
            <a:r>
              <a:rPr lang="de-DE" sz="1400" smtClean="0">
                <a:solidFill>
                  <a:schemeClr val="tx1"/>
                </a:solidFill>
              </a:rPr>
              <a:t>Preparation of Roll </a:t>
            </a:r>
            <a:r>
              <a:rPr lang="de-DE" sz="1400" dirty="0" smtClean="0">
                <a:solidFill>
                  <a:schemeClr val="tx1"/>
                </a:solidFill>
              </a:rPr>
              <a:t>Out: </a:t>
            </a:r>
            <a:r>
              <a:rPr lang="de-DE" sz="1400" smtClean="0">
                <a:solidFill>
                  <a:schemeClr val="tx1"/>
                </a:solidFill>
              </a:rPr>
              <a:t>Kick-Off and tailoring in vehicle project</a:t>
            </a:r>
            <a:endParaRPr lang="de-DE" sz="1400" dirty="0">
              <a:solidFill>
                <a:schemeClr val="tx1"/>
              </a:solidFill>
            </a:endParaRPr>
          </a:p>
        </p:txBody>
      </p:sp>
      <p:sp>
        <p:nvSpPr>
          <p:cNvPr id="14" name="Ellipse 13"/>
          <p:cNvSpPr/>
          <p:nvPr/>
        </p:nvSpPr>
        <p:spPr>
          <a:xfrm>
            <a:off x="522806" y="1757409"/>
            <a:ext cx="288000" cy="288000"/>
          </a:xfrm>
          <a:prstGeom prst="ellipse">
            <a:avLst/>
          </a:prstGeom>
          <a:solidFill>
            <a:schemeClr val="bg2">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b="1" dirty="0" smtClean="0"/>
              <a:t>0</a:t>
            </a:r>
            <a:endParaRPr lang="de-DE" sz="1400" b="1" dirty="0"/>
          </a:p>
        </p:txBody>
      </p:sp>
      <p:grpSp>
        <p:nvGrpSpPr>
          <p:cNvPr id="2" name="Gruppieren 64"/>
          <p:cNvGrpSpPr/>
          <p:nvPr/>
        </p:nvGrpSpPr>
        <p:grpSpPr>
          <a:xfrm>
            <a:off x="819332" y="2293076"/>
            <a:ext cx="2591326" cy="1135031"/>
            <a:chOff x="3276048" y="5002109"/>
            <a:chExt cx="2375880" cy="1451227"/>
          </a:xfrm>
        </p:grpSpPr>
        <p:pic>
          <p:nvPicPr>
            <p:cNvPr id="16" name="Picture 6"/>
            <p:cNvPicPr>
              <a:picLocks noChangeAspect="1" noChangeArrowheads="1"/>
            </p:cNvPicPr>
            <p:nvPr/>
          </p:nvPicPr>
          <p:blipFill>
            <a:blip r:embed="rId2" cstate="print"/>
            <a:srcRect/>
            <a:stretch>
              <a:fillRect/>
            </a:stretch>
          </p:blipFill>
          <p:spPr bwMode="auto">
            <a:xfrm>
              <a:off x="3276048" y="5002109"/>
              <a:ext cx="1728000" cy="1019179"/>
            </a:xfrm>
            <a:prstGeom prst="rect">
              <a:avLst/>
            </a:prstGeom>
            <a:solidFill>
              <a:schemeClr val="bg1"/>
            </a:solidFill>
            <a:ln w="9525">
              <a:solidFill>
                <a:schemeClr val="tx2"/>
              </a:solidFill>
              <a:miter lim="800000"/>
              <a:headEnd/>
              <a:tailEnd/>
            </a:ln>
            <a:effectLst>
              <a:outerShdw blurRad="50800" dist="38100" dir="2700000" algn="tl" rotWithShape="0">
                <a:prstClr val="black">
                  <a:alpha val="40000"/>
                </a:prstClr>
              </a:outerShdw>
            </a:effectLst>
          </p:spPr>
        </p:pic>
        <p:pic>
          <p:nvPicPr>
            <p:cNvPr id="17" name="Picture 7"/>
            <p:cNvPicPr>
              <a:picLocks noChangeAspect="1" noChangeArrowheads="1"/>
            </p:cNvPicPr>
            <p:nvPr/>
          </p:nvPicPr>
          <p:blipFill>
            <a:blip r:embed="rId3" cstate="print"/>
            <a:srcRect/>
            <a:stretch>
              <a:fillRect/>
            </a:stretch>
          </p:blipFill>
          <p:spPr bwMode="auto">
            <a:xfrm>
              <a:off x="3923928" y="5421414"/>
              <a:ext cx="1728000" cy="1031922"/>
            </a:xfrm>
            <a:prstGeom prst="rect">
              <a:avLst/>
            </a:prstGeom>
            <a:noFill/>
            <a:ln w="6350">
              <a:solidFill>
                <a:schemeClr val="tx2"/>
              </a:solidFill>
              <a:miter lim="800000"/>
              <a:headEnd/>
              <a:tailEnd/>
            </a:ln>
            <a:effectLst>
              <a:outerShdw blurRad="50800" dist="38100" dir="2700000" algn="tl" rotWithShape="0">
                <a:prstClr val="black">
                  <a:alpha val="40000"/>
                </a:prstClr>
              </a:outerShdw>
            </a:effectLst>
          </p:spPr>
        </p:pic>
        <p:sp>
          <p:nvSpPr>
            <p:cNvPr id="18" name="Rechteck 17"/>
            <p:cNvSpPr/>
            <p:nvPr/>
          </p:nvSpPr>
          <p:spPr>
            <a:xfrm>
              <a:off x="3996024" y="5481248"/>
              <a:ext cx="792000" cy="180000"/>
            </a:xfrm>
            <a:prstGeom prst="rect">
              <a:avLst/>
            </a:prstGeom>
            <a:solidFill>
              <a:schemeClr val="bg1"/>
            </a:solidFill>
            <a:ln w="6350">
              <a:solidFill>
                <a:schemeClr val="tx2"/>
              </a:solidFill>
            </a:ln>
          </p:spPr>
          <p:txBody>
            <a:bodyPr wrap="square" lIns="36000" tIns="36000" rIns="36000" bIns="36000" anchor="ctr">
              <a:noAutofit/>
            </a:bodyPr>
            <a:lstStyle/>
            <a:p>
              <a:pPr marL="180975" indent="-180975">
                <a:spcAft>
                  <a:spcPts val="600"/>
                </a:spcAft>
              </a:pPr>
              <a:r>
                <a:rPr lang="de-DE" sz="800" smtClean="0">
                  <a:solidFill>
                    <a:prstClr val="black"/>
                  </a:solidFill>
                </a:rPr>
                <a:t>Questionnaire</a:t>
              </a:r>
              <a:endParaRPr lang="de-DE" sz="800" dirty="0" smtClean="0">
                <a:solidFill>
                  <a:prstClr val="black"/>
                </a:solidFill>
              </a:endParaRPr>
            </a:p>
          </p:txBody>
        </p:sp>
        <p:sp>
          <p:nvSpPr>
            <p:cNvPr id="19" name="Rechteck 18"/>
            <p:cNvSpPr/>
            <p:nvPr/>
          </p:nvSpPr>
          <p:spPr>
            <a:xfrm>
              <a:off x="3311860" y="5049204"/>
              <a:ext cx="1152000" cy="180000"/>
            </a:xfrm>
            <a:prstGeom prst="rect">
              <a:avLst/>
            </a:prstGeom>
            <a:solidFill>
              <a:schemeClr val="bg1"/>
            </a:solidFill>
            <a:ln w="6350">
              <a:solidFill>
                <a:schemeClr val="tx2"/>
              </a:solidFill>
            </a:ln>
          </p:spPr>
          <p:txBody>
            <a:bodyPr wrap="square" lIns="36000" tIns="36000" rIns="36000" bIns="36000" anchor="ctr">
              <a:noAutofit/>
            </a:bodyPr>
            <a:lstStyle/>
            <a:p>
              <a:pPr marL="180975" indent="-180975">
                <a:spcAft>
                  <a:spcPts val="600"/>
                </a:spcAft>
              </a:pPr>
              <a:r>
                <a:rPr lang="de-DE" sz="800" smtClean="0">
                  <a:solidFill>
                    <a:prstClr val="black"/>
                  </a:solidFill>
                </a:rPr>
                <a:t>Cluster of interfaces</a:t>
              </a:r>
              <a:endParaRPr lang="de-DE" sz="800" dirty="0" smtClean="0">
                <a:solidFill>
                  <a:prstClr val="black"/>
                </a:solidFill>
              </a:endParaRPr>
            </a:p>
          </p:txBody>
        </p:sp>
      </p:grpSp>
      <p:sp>
        <p:nvSpPr>
          <p:cNvPr id="20" name="Rectangle 5"/>
          <p:cNvSpPr>
            <a:spLocks noChangeArrowheads="1"/>
          </p:cNvSpPr>
          <p:nvPr/>
        </p:nvSpPr>
        <p:spPr bwMode="auto">
          <a:xfrm>
            <a:off x="3812289" y="3328954"/>
            <a:ext cx="252000" cy="108000"/>
          </a:xfrm>
          <a:prstGeom prst="rect">
            <a:avLst/>
          </a:prstGeom>
          <a:solidFill>
            <a:schemeClr val="bg2">
              <a:lumMod val="50000"/>
            </a:schemeClr>
          </a:solidFill>
          <a:ln>
            <a:solidFill>
              <a:schemeClr val="bg1"/>
            </a:solidFill>
          </a:ln>
          <a:effectLst/>
          <a:extLst/>
        </p:spPr>
        <p:txBody>
          <a:bodyPr wrap="none" lIns="0" tIns="0" rIns="0" bIns="0" anchor="ctr"/>
          <a:lstStyle/>
          <a:p>
            <a:endParaRPr lang="en-US" dirty="0">
              <a:latin typeface="Helvetica" pitchFamily="34" charset="0"/>
            </a:endParaRPr>
          </a:p>
        </p:txBody>
      </p:sp>
      <p:sp>
        <p:nvSpPr>
          <p:cNvPr id="21" name="Ellipse 20"/>
          <p:cNvSpPr/>
          <p:nvPr/>
        </p:nvSpPr>
        <p:spPr>
          <a:xfrm>
            <a:off x="3749993" y="3303563"/>
            <a:ext cx="144000" cy="144000"/>
          </a:xfrm>
          <a:prstGeom prst="ellipse">
            <a:avLst/>
          </a:prstGeom>
          <a:solidFill>
            <a:schemeClr val="bg2">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1" dirty="0" smtClean="0"/>
              <a:t>0</a:t>
            </a:r>
            <a:endParaRPr lang="de-DE" sz="800" b="1" dirty="0"/>
          </a:p>
        </p:txBody>
      </p:sp>
      <p:sp>
        <p:nvSpPr>
          <p:cNvPr id="22" name="Ellipse 21"/>
          <p:cNvSpPr/>
          <p:nvPr/>
        </p:nvSpPr>
        <p:spPr>
          <a:xfrm>
            <a:off x="4657555" y="4003854"/>
            <a:ext cx="144000" cy="144000"/>
          </a:xfrm>
          <a:prstGeom prst="ellipse">
            <a:avLst/>
          </a:prstGeom>
          <a:solidFill>
            <a:schemeClr val="bg2">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1" dirty="0" smtClean="0"/>
              <a:t>3</a:t>
            </a:r>
            <a:endParaRPr lang="de-DE" sz="800" b="1" dirty="0"/>
          </a:p>
        </p:txBody>
      </p:sp>
      <p:sp>
        <p:nvSpPr>
          <p:cNvPr id="24" name="Abgerundetes Rechteck 23"/>
          <p:cNvSpPr/>
          <p:nvPr/>
        </p:nvSpPr>
        <p:spPr>
          <a:xfrm>
            <a:off x="5551055" y="3663332"/>
            <a:ext cx="3126220" cy="1638923"/>
          </a:xfrm>
          <a:prstGeom prst="roundRect">
            <a:avLst>
              <a:gd name="adj" fmla="val 8418"/>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68288"/>
            <a:r>
              <a:rPr lang="de-DE" sz="1400" dirty="0" smtClean="0">
                <a:solidFill>
                  <a:schemeClr val="tx1"/>
                </a:solidFill>
              </a:rPr>
              <a:t>Permanent </a:t>
            </a:r>
            <a:r>
              <a:rPr lang="de-DE" sz="1400" dirty="0" err="1" smtClean="0">
                <a:solidFill>
                  <a:schemeClr val="tx1"/>
                </a:solidFill>
              </a:rPr>
              <a:t>planning</a:t>
            </a:r>
            <a:r>
              <a:rPr lang="de-DE" sz="1400" dirty="0" smtClean="0">
                <a:solidFill>
                  <a:schemeClr val="tx1"/>
                </a:solidFill>
              </a:rPr>
              <a:t> </a:t>
            </a:r>
            <a:r>
              <a:rPr lang="de-DE" sz="1400" dirty="0" err="1" smtClean="0">
                <a:solidFill>
                  <a:schemeClr val="tx1"/>
                </a:solidFill>
              </a:rPr>
              <a:t>of</a:t>
            </a:r>
            <a:r>
              <a:rPr lang="de-DE" sz="1400" dirty="0" smtClean="0">
                <a:solidFill>
                  <a:schemeClr val="tx1"/>
                </a:solidFill>
              </a:rPr>
              <a:t> </a:t>
            </a:r>
            <a:r>
              <a:rPr lang="de-DE" sz="1400" dirty="0" err="1" smtClean="0">
                <a:solidFill>
                  <a:schemeClr val="tx1"/>
                </a:solidFill>
              </a:rPr>
              <a:t>continous</a:t>
            </a:r>
            <a:r>
              <a:rPr lang="de-DE" sz="1400" dirty="0" smtClean="0">
                <a:solidFill>
                  <a:schemeClr val="tx1"/>
                </a:solidFill>
              </a:rPr>
              <a:t> </a:t>
            </a:r>
            <a:r>
              <a:rPr lang="de-DE" sz="1400" dirty="0" err="1" smtClean="0">
                <a:solidFill>
                  <a:schemeClr val="tx1"/>
                </a:solidFill>
              </a:rPr>
              <a:t>testing</a:t>
            </a:r>
            <a:r>
              <a:rPr lang="de-DE" sz="1400" dirty="0" smtClean="0">
                <a:solidFill>
                  <a:schemeClr val="tx1"/>
                </a:solidFill>
              </a:rPr>
              <a:t> </a:t>
            </a:r>
            <a:r>
              <a:rPr lang="de-DE" sz="1400" dirty="0" err="1" smtClean="0">
                <a:solidFill>
                  <a:schemeClr val="tx1"/>
                </a:solidFill>
              </a:rPr>
              <a:t>and</a:t>
            </a:r>
            <a:r>
              <a:rPr lang="de-DE" sz="1400" dirty="0" smtClean="0">
                <a:solidFill>
                  <a:schemeClr val="tx1"/>
                </a:solidFill>
              </a:rPr>
              <a:t> </a:t>
            </a:r>
            <a:r>
              <a:rPr lang="de-DE" sz="1400" dirty="0" err="1" smtClean="0">
                <a:solidFill>
                  <a:schemeClr val="tx1"/>
                </a:solidFill>
              </a:rPr>
              <a:t>approval</a:t>
            </a:r>
            <a:r>
              <a:rPr lang="de-DE" sz="1400" dirty="0" smtClean="0">
                <a:solidFill>
                  <a:schemeClr val="tx1"/>
                </a:solidFill>
              </a:rPr>
              <a:t> </a:t>
            </a:r>
            <a:r>
              <a:rPr lang="de-DE" sz="1400" dirty="0" err="1" smtClean="0">
                <a:solidFill>
                  <a:schemeClr val="tx1"/>
                </a:solidFill>
              </a:rPr>
              <a:t>of</a:t>
            </a:r>
            <a:r>
              <a:rPr lang="de-DE" sz="1400" dirty="0" smtClean="0">
                <a:solidFill>
                  <a:schemeClr val="tx1"/>
                </a:solidFill>
              </a:rPr>
              <a:t> </a:t>
            </a:r>
            <a:r>
              <a:rPr lang="de-DE" sz="1400" dirty="0" err="1" smtClean="0">
                <a:solidFill>
                  <a:schemeClr val="tx1"/>
                </a:solidFill>
              </a:rPr>
              <a:t>maturity</a:t>
            </a:r>
            <a:r>
              <a:rPr lang="de-DE" sz="1400" dirty="0" smtClean="0">
                <a:solidFill>
                  <a:schemeClr val="tx1"/>
                </a:solidFill>
              </a:rPr>
              <a:t> </a:t>
            </a:r>
            <a:r>
              <a:rPr lang="de-DE" sz="1400" dirty="0" err="1" smtClean="0">
                <a:solidFill>
                  <a:schemeClr val="tx1"/>
                </a:solidFill>
              </a:rPr>
              <a:t>step</a:t>
            </a:r>
            <a:endParaRPr lang="de-DE" sz="1400" dirty="0" smtClean="0">
              <a:solidFill>
                <a:schemeClr val="tx1"/>
              </a:solidFill>
            </a:endParaRPr>
          </a:p>
        </p:txBody>
      </p:sp>
      <p:sp>
        <p:nvSpPr>
          <p:cNvPr id="25" name="Ellipse 24"/>
          <p:cNvSpPr/>
          <p:nvPr/>
        </p:nvSpPr>
        <p:spPr>
          <a:xfrm>
            <a:off x="5605809" y="3717497"/>
            <a:ext cx="288000" cy="288000"/>
          </a:xfrm>
          <a:prstGeom prst="ellipse">
            <a:avLst/>
          </a:prstGeom>
          <a:solidFill>
            <a:schemeClr val="bg2">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b="1" dirty="0" smtClean="0"/>
              <a:t>3</a:t>
            </a:r>
            <a:endParaRPr lang="de-DE" sz="1400" b="1" dirty="0"/>
          </a:p>
        </p:txBody>
      </p:sp>
      <p:pic>
        <p:nvPicPr>
          <p:cNvPr id="26" name="Picture 1"/>
          <p:cNvPicPr>
            <a:picLocks noChangeAspect="1" noChangeArrowheads="1"/>
          </p:cNvPicPr>
          <p:nvPr/>
        </p:nvPicPr>
        <p:blipFill>
          <a:blip r:embed="rId4" cstate="print"/>
          <a:srcRect t="14324"/>
          <a:stretch>
            <a:fillRect/>
          </a:stretch>
        </p:blipFill>
        <p:spPr bwMode="auto">
          <a:xfrm>
            <a:off x="5724128" y="4207123"/>
            <a:ext cx="2849891" cy="1042410"/>
          </a:xfrm>
          <a:prstGeom prst="rect">
            <a:avLst/>
          </a:prstGeom>
          <a:solidFill>
            <a:schemeClr val="bg2">
              <a:lumMod val="60000"/>
              <a:lumOff val="40000"/>
            </a:schemeClr>
          </a:solidFill>
          <a:ln w="25400" cap="flat" cmpd="sng" algn="ctr">
            <a:noFill/>
            <a:prstDash val="solid"/>
          </a:ln>
        </p:spPr>
      </p:pic>
      <p:sp>
        <p:nvSpPr>
          <p:cNvPr id="27" name="Rectangle 5"/>
          <p:cNvSpPr>
            <a:spLocks noChangeArrowheads="1"/>
          </p:cNvSpPr>
          <p:nvPr/>
        </p:nvSpPr>
        <p:spPr bwMode="auto">
          <a:xfrm>
            <a:off x="4990315" y="4250530"/>
            <a:ext cx="252000" cy="108000"/>
          </a:xfrm>
          <a:prstGeom prst="rect">
            <a:avLst/>
          </a:prstGeom>
          <a:solidFill>
            <a:schemeClr val="bg2">
              <a:lumMod val="50000"/>
            </a:schemeClr>
          </a:solidFill>
          <a:ln>
            <a:solidFill>
              <a:schemeClr val="bg1"/>
            </a:solidFill>
          </a:ln>
          <a:effectLst/>
          <a:extLst/>
        </p:spPr>
        <p:txBody>
          <a:bodyPr wrap="none" lIns="0" tIns="0" rIns="0" bIns="0" anchor="ctr"/>
          <a:lstStyle/>
          <a:p>
            <a:endParaRPr lang="en-US" dirty="0">
              <a:latin typeface="Helvetica" pitchFamily="34" charset="0"/>
            </a:endParaRPr>
          </a:p>
        </p:txBody>
      </p:sp>
      <p:sp>
        <p:nvSpPr>
          <p:cNvPr id="28" name="Ellipse 27"/>
          <p:cNvSpPr/>
          <p:nvPr/>
        </p:nvSpPr>
        <p:spPr>
          <a:xfrm>
            <a:off x="4905682" y="4225139"/>
            <a:ext cx="144000" cy="144000"/>
          </a:xfrm>
          <a:prstGeom prst="ellipse">
            <a:avLst/>
          </a:prstGeom>
          <a:solidFill>
            <a:schemeClr val="bg2">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1" dirty="0" smtClean="0"/>
              <a:t>4</a:t>
            </a:r>
            <a:endParaRPr lang="de-DE" sz="800" b="1" dirty="0"/>
          </a:p>
        </p:txBody>
      </p:sp>
      <p:sp>
        <p:nvSpPr>
          <p:cNvPr id="29" name="Ellipse 28"/>
          <p:cNvSpPr/>
          <p:nvPr/>
        </p:nvSpPr>
        <p:spPr>
          <a:xfrm>
            <a:off x="4398132" y="3778503"/>
            <a:ext cx="144000" cy="144000"/>
          </a:xfrm>
          <a:prstGeom prst="ellipse">
            <a:avLst/>
          </a:prstGeom>
          <a:solidFill>
            <a:schemeClr val="bg2">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1" dirty="0" smtClean="0"/>
              <a:t>2</a:t>
            </a:r>
            <a:endParaRPr lang="de-DE" sz="800" b="1" dirty="0"/>
          </a:p>
        </p:txBody>
      </p:sp>
      <p:sp>
        <p:nvSpPr>
          <p:cNvPr id="30" name="Ellipse 29"/>
          <p:cNvSpPr/>
          <p:nvPr/>
        </p:nvSpPr>
        <p:spPr>
          <a:xfrm>
            <a:off x="4182802" y="3541713"/>
            <a:ext cx="144000" cy="144000"/>
          </a:xfrm>
          <a:prstGeom prst="ellipse">
            <a:avLst/>
          </a:prstGeom>
          <a:solidFill>
            <a:schemeClr val="bg2">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800" b="1" dirty="0" smtClean="0"/>
              <a:t>1</a:t>
            </a:r>
            <a:endParaRPr lang="de-DE" sz="800" b="1" dirty="0"/>
          </a:p>
        </p:txBody>
      </p:sp>
      <p:sp>
        <p:nvSpPr>
          <p:cNvPr id="32" name="Abgerundetes Rechteck 31"/>
          <p:cNvSpPr/>
          <p:nvPr/>
        </p:nvSpPr>
        <p:spPr>
          <a:xfrm>
            <a:off x="5551055" y="1700715"/>
            <a:ext cx="3124633" cy="1820209"/>
          </a:xfrm>
          <a:prstGeom prst="roundRect">
            <a:avLst>
              <a:gd name="adj" fmla="val 8418"/>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68288"/>
            <a:r>
              <a:rPr lang="de-DE" sz="1400" dirty="0" smtClean="0">
                <a:solidFill>
                  <a:schemeClr val="tx1"/>
                </a:solidFill>
              </a:rPr>
              <a:t>Agreement upon time </a:t>
            </a:r>
            <a:r>
              <a:rPr lang="de-DE" sz="1400" dirty="0" err="1" smtClean="0">
                <a:solidFill>
                  <a:schemeClr val="tx1"/>
                </a:solidFill>
              </a:rPr>
              <a:t>lines</a:t>
            </a:r>
            <a:r>
              <a:rPr lang="de-DE" sz="1400" dirty="0" smtClean="0">
                <a:solidFill>
                  <a:schemeClr val="tx1"/>
                </a:solidFill>
              </a:rPr>
              <a:t> (</a:t>
            </a:r>
            <a:r>
              <a:rPr lang="de-DE" sz="1400" dirty="0" err="1" smtClean="0">
                <a:solidFill>
                  <a:schemeClr val="tx1"/>
                </a:solidFill>
              </a:rPr>
              <a:t>basic</a:t>
            </a:r>
            <a:r>
              <a:rPr lang="de-DE" sz="1400" dirty="0" smtClean="0">
                <a:solidFill>
                  <a:schemeClr val="tx1"/>
                </a:solidFill>
              </a:rPr>
              <a:t> </a:t>
            </a:r>
            <a:r>
              <a:rPr lang="de-DE" sz="1400" dirty="0" err="1" smtClean="0">
                <a:solidFill>
                  <a:schemeClr val="tx1"/>
                </a:solidFill>
              </a:rPr>
              <a:t>structure</a:t>
            </a:r>
            <a:r>
              <a:rPr lang="de-DE" sz="1400" dirty="0" smtClean="0">
                <a:solidFill>
                  <a:schemeClr val="tx1"/>
                </a:solidFill>
              </a:rPr>
              <a:t> </a:t>
            </a:r>
            <a:r>
              <a:rPr lang="de-DE" sz="1400" dirty="0" err="1" smtClean="0">
                <a:solidFill>
                  <a:schemeClr val="tx1"/>
                </a:solidFill>
              </a:rPr>
              <a:t>maturity</a:t>
            </a:r>
            <a:r>
              <a:rPr lang="de-DE" sz="1400" dirty="0" smtClean="0">
                <a:solidFill>
                  <a:schemeClr val="tx1"/>
                </a:solidFill>
              </a:rPr>
              <a:t> </a:t>
            </a:r>
            <a:r>
              <a:rPr lang="de-DE" sz="1400" dirty="0" err="1" smtClean="0">
                <a:solidFill>
                  <a:schemeClr val="tx1"/>
                </a:solidFill>
              </a:rPr>
              <a:t>step</a:t>
            </a:r>
            <a:r>
              <a:rPr lang="de-DE" sz="1400" dirty="0" smtClean="0">
                <a:solidFill>
                  <a:schemeClr val="tx1"/>
                </a:solidFill>
              </a:rPr>
              <a:t> </a:t>
            </a:r>
            <a:r>
              <a:rPr lang="de-DE" sz="1400" dirty="0" err="1" smtClean="0">
                <a:solidFill>
                  <a:schemeClr val="tx1"/>
                </a:solidFill>
              </a:rPr>
              <a:t>vehicle-specific</a:t>
            </a:r>
            <a:r>
              <a:rPr lang="de-DE" sz="1400" dirty="0" smtClean="0">
                <a:solidFill>
                  <a:schemeClr val="tx1"/>
                </a:solidFill>
              </a:rPr>
              <a:t>)</a:t>
            </a:r>
          </a:p>
        </p:txBody>
      </p:sp>
      <p:sp>
        <p:nvSpPr>
          <p:cNvPr id="33" name="Ellipse 32"/>
          <p:cNvSpPr/>
          <p:nvPr/>
        </p:nvSpPr>
        <p:spPr>
          <a:xfrm>
            <a:off x="5605279" y="1757911"/>
            <a:ext cx="288000" cy="288000"/>
          </a:xfrm>
          <a:prstGeom prst="ellipse">
            <a:avLst/>
          </a:prstGeom>
          <a:solidFill>
            <a:schemeClr val="bg2">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b="1" dirty="0" smtClean="0"/>
              <a:t>1</a:t>
            </a:r>
            <a:endParaRPr lang="de-DE" sz="1400" b="1" dirty="0"/>
          </a:p>
        </p:txBody>
      </p:sp>
      <p:pic>
        <p:nvPicPr>
          <p:cNvPr id="34" name="Picture 1"/>
          <p:cNvPicPr>
            <a:picLocks noChangeAspect="1" noChangeArrowheads="1"/>
          </p:cNvPicPr>
          <p:nvPr/>
        </p:nvPicPr>
        <p:blipFill>
          <a:blip r:embed="rId5" cstate="print"/>
          <a:srcRect/>
          <a:stretch>
            <a:fillRect/>
          </a:stretch>
        </p:blipFill>
        <p:spPr bwMode="auto">
          <a:xfrm>
            <a:off x="5802154" y="2409985"/>
            <a:ext cx="2658278" cy="1091023"/>
          </a:xfrm>
          <a:prstGeom prst="rect">
            <a:avLst/>
          </a:prstGeom>
          <a:noFill/>
          <a:ln w="9525">
            <a:noFill/>
            <a:miter lim="800000"/>
            <a:headEnd/>
            <a:tailEnd/>
          </a:ln>
          <a:effectLst/>
        </p:spPr>
      </p:pic>
      <p:sp>
        <p:nvSpPr>
          <p:cNvPr id="36" name="Abgerundetes Rechteck 35"/>
          <p:cNvSpPr/>
          <p:nvPr/>
        </p:nvSpPr>
        <p:spPr>
          <a:xfrm>
            <a:off x="461493" y="3666908"/>
            <a:ext cx="3174402" cy="1635787"/>
          </a:xfrm>
          <a:prstGeom prst="roundRect">
            <a:avLst>
              <a:gd name="adj" fmla="val 8418"/>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68288"/>
            <a:r>
              <a:rPr lang="de-DE" sz="1400" smtClean="0">
                <a:solidFill>
                  <a:schemeClr val="tx1"/>
                </a:solidFill>
              </a:rPr>
              <a:t>Relational matrix, </a:t>
            </a:r>
            <a:r>
              <a:rPr lang="en-US" sz="1400" smtClean="0">
                <a:solidFill>
                  <a:schemeClr val="tx1"/>
                </a:solidFill>
              </a:rPr>
              <a:t>maturity level-target-planning, </a:t>
            </a:r>
            <a:r>
              <a:rPr lang="de-DE" sz="1400" smtClean="0">
                <a:solidFill>
                  <a:schemeClr val="tx1"/>
                </a:solidFill>
              </a:rPr>
              <a:t>mech. PQ report</a:t>
            </a:r>
            <a:endParaRPr lang="de-DE" sz="1400" dirty="0">
              <a:solidFill>
                <a:schemeClr val="tx1"/>
              </a:solidFill>
            </a:endParaRPr>
          </a:p>
        </p:txBody>
      </p:sp>
      <p:sp>
        <p:nvSpPr>
          <p:cNvPr id="37" name="Ellipse 36"/>
          <p:cNvSpPr/>
          <p:nvPr/>
        </p:nvSpPr>
        <p:spPr>
          <a:xfrm>
            <a:off x="514417" y="3719805"/>
            <a:ext cx="288000" cy="288000"/>
          </a:xfrm>
          <a:prstGeom prst="ellipse">
            <a:avLst/>
          </a:prstGeom>
          <a:solidFill>
            <a:schemeClr val="bg2">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b="1" dirty="0" smtClean="0"/>
              <a:t>2</a:t>
            </a:r>
            <a:endParaRPr lang="de-DE" sz="1400" b="1" dirty="0"/>
          </a:p>
        </p:txBody>
      </p:sp>
      <p:pic>
        <p:nvPicPr>
          <p:cNvPr id="38" name="Picture 3"/>
          <p:cNvPicPr>
            <a:picLocks noChangeAspect="1" noChangeArrowheads="1"/>
          </p:cNvPicPr>
          <p:nvPr/>
        </p:nvPicPr>
        <p:blipFill>
          <a:blip r:embed="rId6" cstate="print"/>
          <a:srcRect/>
          <a:stretch>
            <a:fillRect/>
          </a:stretch>
        </p:blipFill>
        <p:spPr bwMode="auto">
          <a:xfrm>
            <a:off x="980025" y="4207563"/>
            <a:ext cx="2127674" cy="1022709"/>
          </a:xfrm>
          <a:prstGeom prst="rect">
            <a:avLst/>
          </a:prstGeom>
          <a:noFill/>
          <a:ln w="9525">
            <a:noFill/>
            <a:miter lim="800000"/>
            <a:headEnd/>
            <a:tailEnd/>
          </a:ln>
          <a:effectLst/>
        </p:spPr>
      </p:pic>
      <p:sp>
        <p:nvSpPr>
          <p:cNvPr id="40" name="Abgerundetes Rechteck 39"/>
          <p:cNvSpPr/>
          <p:nvPr/>
        </p:nvSpPr>
        <p:spPr>
          <a:xfrm>
            <a:off x="3014887" y="4797152"/>
            <a:ext cx="3126220" cy="1789380"/>
          </a:xfrm>
          <a:prstGeom prst="roundRect">
            <a:avLst>
              <a:gd name="adj" fmla="val 8418"/>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68288"/>
            <a:r>
              <a:rPr lang="de-DE" sz="1400" dirty="0" err="1" smtClean="0">
                <a:solidFill>
                  <a:schemeClr val="tx1"/>
                </a:solidFill>
              </a:rPr>
              <a:t>Implementation</a:t>
            </a:r>
            <a:r>
              <a:rPr lang="de-DE" sz="1400" dirty="0" smtClean="0">
                <a:solidFill>
                  <a:schemeClr val="tx1"/>
                </a:solidFill>
              </a:rPr>
              <a:t> </a:t>
            </a:r>
            <a:r>
              <a:rPr lang="de-DE" sz="1400" dirty="0" err="1" smtClean="0">
                <a:solidFill>
                  <a:schemeClr val="tx1"/>
                </a:solidFill>
              </a:rPr>
              <a:t>of</a:t>
            </a:r>
            <a:r>
              <a:rPr lang="de-DE" sz="1400" dirty="0" smtClean="0">
                <a:solidFill>
                  <a:schemeClr val="tx1"/>
                </a:solidFill>
              </a:rPr>
              <a:t> </a:t>
            </a:r>
            <a:r>
              <a:rPr lang="de-DE" sz="1400" dirty="0" err="1" smtClean="0">
                <a:solidFill>
                  <a:schemeClr val="tx1"/>
                </a:solidFill>
              </a:rPr>
              <a:t>maturity</a:t>
            </a:r>
            <a:r>
              <a:rPr lang="de-DE" sz="1400" dirty="0" smtClean="0">
                <a:solidFill>
                  <a:schemeClr val="tx1"/>
                </a:solidFill>
              </a:rPr>
              <a:t> </a:t>
            </a:r>
            <a:r>
              <a:rPr lang="de-DE" sz="1400" dirty="0" err="1" smtClean="0">
                <a:solidFill>
                  <a:schemeClr val="tx1"/>
                </a:solidFill>
              </a:rPr>
              <a:t>step</a:t>
            </a:r>
            <a:r>
              <a:rPr lang="de-DE" sz="1400" dirty="0" smtClean="0">
                <a:solidFill>
                  <a:schemeClr val="tx1"/>
                </a:solidFill>
              </a:rPr>
              <a:t> (</a:t>
            </a:r>
            <a:r>
              <a:rPr lang="de-DE" sz="1400" dirty="0" err="1" smtClean="0">
                <a:solidFill>
                  <a:schemeClr val="tx1"/>
                </a:solidFill>
              </a:rPr>
              <a:t>Proof</a:t>
            </a:r>
            <a:r>
              <a:rPr lang="de-DE" sz="1400" dirty="0" smtClean="0">
                <a:solidFill>
                  <a:schemeClr val="tx1"/>
                </a:solidFill>
              </a:rPr>
              <a:t> </a:t>
            </a:r>
            <a:r>
              <a:rPr lang="de-DE" sz="1400" dirty="0" err="1" smtClean="0">
                <a:solidFill>
                  <a:schemeClr val="tx1"/>
                </a:solidFill>
              </a:rPr>
              <a:t>of</a:t>
            </a:r>
            <a:r>
              <a:rPr lang="de-DE" sz="1400" dirty="0" smtClean="0">
                <a:solidFill>
                  <a:schemeClr val="tx1"/>
                </a:solidFill>
              </a:rPr>
              <a:t> </a:t>
            </a:r>
            <a:r>
              <a:rPr lang="de-DE" sz="1400" dirty="0" err="1" smtClean="0">
                <a:solidFill>
                  <a:schemeClr val="tx1"/>
                </a:solidFill>
              </a:rPr>
              <a:t>suitability</a:t>
            </a:r>
            <a:r>
              <a:rPr lang="de-DE" sz="1400" dirty="0" smtClean="0">
                <a:solidFill>
                  <a:schemeClr val="tx1"/>
                </a:solidFill>
              </a:rPr>
              <a:t> </a:t>
            </a:r>
            <a:r>
              <a:rPr lang="de-DE" sz="1400" dirty="0" err="1" smtClean="0">
                <a:solidFill>
                  <a:schemeClr val="tx1"/>
                </a:solidFill>
              </a:rPr>
              <a:t>of</a:t>
            </a:r>
            <a:r>
              <a:rPr lang="de-DE" sz="1400" dirty="0" smtClean="0">
                <a:solidFill>
                  <a:schemeClr val="tx1"/>
                </a:solidFill>
              </a:rPr>
              <a:t> </a:t>
            </a:r>
            <a:r>
              <a:rPr lang="de-DE" sz="1400" dirty="0" err="1" smtClean="0">
                <a:solidFill>
                  <a:schemeClr val="tx1"/>
                </a:solidFill>
              </a:rPr>
              <a:t>continous</a:t>
            </a:r>
            <a:r>
              <a:rPr lang="de-DE" sz="1400" dirty="0" smtClean="0">
                <a:solidFill>
                  <a:schemeClr val="tx1"/>
                </a:solidFill>
              </a:rPr>
              <a:t> </a:t>
            </a:r>
            <a:r>
              <a:rPr lang="de-DE" sz="1400" dirty="0" err="1" smtClean="0">
                <a:solidFill>
                  <a:schemeClr val="tx1"/>
                </a:solidFill>
              </a:rPr>
              <a:t>testing</a:t>
            </a:r>
            <a:r>
              <a:rPr lang="de-DE" sz="1400" dirty="0" smtClean="0">
                <a:solidFill>
                  <a:schemeClr val="tx1"/>
                </a:solidFill>
              </a:rPr>
              <a:t> </a:t>
            </a:r>
            <a:r>
              <a:rPr lang="de-DE" sz="1400" dirty="0" err="1" smtClean="0">
                <a:solidFill>
                  <a:schemeClr val="tx1"/>
                </a:solidFill>
              </a:rPr>
              <a:t>and</a:t>
            </a:r>
            <a:r>
              <a:rPr lang="de-DE" sz="1400" dirty="0" smtClean="0">
                <a:solidFill>
                  <a:schemeClr val="tx1"/>
                </a:solidFill>
              </a:rPr>
              <a:t> </a:t>
            </a:r>
            <a:r>
              <a:rPr lang="de-DE" sz="1400" dirty="0" err="1" smtClean="0">
                <a:solidFill>
                  <a:schemeClr val="tx1"/>
                </a:solidFill>
              </a:rPr>
              <a:t>evaluation</a:t>
            </a:r>
            <a:r>
              <a:rPr lang="de-DE" sz="1400" dirty="0" smtClean="0">
                <a:solidFill>
                  <a:schemeClr val="tx1"/>
                </a:solidFill>
              </a:rPr>
              <a:t> </a:t>
            </a:r>
            <a:r>
              <a:rPr lang="de-DE" sz="1400" dirty="0" err="1" smtClean="0">
                <a:solidFill>
                  <a:schemeClr val="tx1"/>
                </a:solidFill>
              </a:rPr>
              <a:t>of</a:t>
            </a:r>
            <a:r>
              <a:rPr lang="de-DE" sz="1400" dirty="0" smtClean="0">
                <a:solidFill>
                  <a:schemeClr val="tx1"/>
                </a:solidFill>
              </a:rPr>
              <a:t> </a:t>
            </a:r>
            <a:r>
              <a:rPr lang="de-DE" sz="1400" dirty="0" err="1" smtClean="0">
                <a:solidFill>
                  <a:schemeClr val="tx1"/>
                </a:solidFill>
              </a:rPr>
              <a:t>continous</a:t>
            </a:r>
            <a:r>
              <a:rPr lang="de-DE" sz="1400" dirty="0" smtClean="0">
                <a:solidFill>
                  <a:schemeClr val="tx1"/>
                </a:solidFill>
              </a:rPr>
              <a:t> </a:t>
            </a:r>
            <a:r>
              <a:rPr lang="de-DE" sz="1400" dirty="0" err="1" smtClean="0">
                <a:solidFill>
                  <a:schemeClr val="tx1"/>
                </a:solidFill>
              </a:rPr>
              <a:t>testing</a:t>
            </a:r>
            <a:r>
              <a:rPr lang="de-DE" sz="1400" dirty="0" smtClean="0">
                <a:solidFill>
                  <a:schemeClr val="tx1"/>
                </a:solidFill>
              </a:rPr>
              <a:t> </a:t>
            </a:r>
            <a:r>
              <a:rPr lang="de-DE" sz="1400" dirty="0" err="1" smtClean="0">
                <a:solidFill>
                  <a:schemeClr val="tx1"/>
                </a:solidFill>
              </a:rPr>
              <a:t>results</a:t>
            </a:r>
            <a:r>
              <a:rPr lang="de-DE" sz="1400" dirty="0" smtClean="0">
                <a:solidFill>
                  <a:schemeClr val="tx1"/>
                </a:solidFill>
              </a:rPr>
              <a:t>) </a:t>
            </a:r>
            <a:endParaRPr lang="de-DE" sz="1400" dirty="0">
              <a:solidFill>
                <a:schemeClr val="tx1"/>
              </a:solidFill>
            </a:endParaRPr>
          </a:p>
        </p:txBody>
      </p:sp>
      <p:sp>
        <p:nvSpPr>
          <p:cNvPr id="41" name="Ellipse 40"/>
          <p:cNvSpPr/>
          <p:nvPr/>
        </p:nvSpPr>
        <p:spPr>
          <a:xfrm>
            <a:off x="3060864" y="4932811"/>
            <a:ext cx="288000" cy="288000"/>
          </a:xfrm>
          <a:prstGeom prst="ellipse">
            <a:avLst/>
          </a:prstGeom>
          <a:solidFill>
            <a:schemeClr val="bg2">
              <a:lumMod val="50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b="1" dirty="0" smtClean="0"/>
              <a:t>4</a:t>
            </a:r>
            <a:endParaRPr lang="de-DE" sz="1400" b="1" dirty="0"/>
          </a:p>
        </p:txBody>
      </p:sp>
      <p:pic>
        <p:nvPicPr>
          <p:cNvPr id="42" name="Picture 2"/>
          <p:cNvPicPr>
            <a:picLocks noChangeAspect="1" noChangeArrowheads="1"/>
          </p:cNvPicPr>
          <p:nvPr/>
        </p:nvPicPr>
        <p:blipFill>
          <a:blip r:embed="rId7" cstate="print"/>
          <a:srcRect/>
          <a:stretch>
            <a:fillRect/>
          </a:stretch>
        </p:blipFill>
        <p:spPr bwMode="auto">
          <a:xfrm>
            <a:off x="3095836" y="5749158"/>
            <a:ext cx="2985161" cy="809884"/>
          </a:xfrm>
          <a:prstGeom prst="rect">
            <a:avLst/>
          </a:prstGeom>
          <a:noFill/>
          <a:ln w="9525">
            <a:noFill/>
            <a:miter lim="800000"/>
            <a:headEnd/>
            <a:tailEnd/>
          </a:ln>
          <a:effectLst/>
        </p:spPr>
      </p:pic>
      <p:sp>
        <p:nvSpPr>
          <p:cNvPr id="48" name="Fußzeilenplatzhalter 47"/>
          <p:cNvSpPr>
            <a:spLocks noGrp="1"/>
          </p:cNvSpPr>
          <p:nvPr>
            <p:ph type="ftr" sz="quarter" idx="10"/>
          </p:nvPr>
        </p:nvSpPr>
        <p:spPr/>
        <p:txBody>
          <a:bodyPr/>
          <a:lstStyle/>
          <a:p>
            <a:pPr algn="l"/>
            <a:r>
              <a:rPr lang="de-DE" smtClean="0"/>
              <a:t>Maturity Level Management Total Vehicle, Communication, Version 4.2</a:t>
            </a:r>
            <a:endParaRPr lang="de-DE" dirty="0"/>
          </a:p>
        </p:txBody>
      </p:sp>
      <p:sp>
        <p:nvSpPr>
          <p:cNvPr id="39" name="Foliennummernplatzhalter 27"/>
          <p:cNvSpPr txBox="1">
            <a:spLocks/>
          </p:cNvSpPr>
          <p:nvPr/>
        </p:nvSpPr>
        <p:spPr>
          <a:xfrm>
            <a:off x="6553200" y="6528871"/>
            <a:ext cx="2124075" cy="329130"/>
          </a:xfrm>
          <a:prstGeom prst="rect">
            <a:avLst/>
          </a:prstGeom>
        </p:spPr>
        <p:txBody>
          <a:bodyPr vert="horz"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chemeClr val="tx1"/>
                </a:solidFill>
                <a:effectLst/>
                <a:uLnTx/>
                <a:uFillTx/>
                <a:latin typeface="+mn-lt"/>
                <a:ea typeface="+mn-ea"/>
                <a:cs typeface="+mn-cs"/>
              </a:rPr>
              <a:t>Slide </a:t>
            </a:r>
            <a:fld id="{AA807A42-CF27-4B84-8583-18EBE418342E}" type="slidenum">
              <a:rPr kumimoji="0" lang="de-DE"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DE" sz="9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nvGraphicFramePr>
        <p:xfrm>
          <a:off x="1587" y="1590"/>
          <a:ext cx="1587" cy="1587"/>
        </p:xfrm>
        <a:graphic>
          <a:graphicData uri="http://schemas.openxmlformats.org/presentationml/2006/ole">
            <p:oleObj spid="_x0000_s148482" name="think-cell Folie" r:id="rId22" imgW="360" imgH="360" progId="TCLayout.ActiveDocument.1">
              <p:embed/>
            </p:oleObj>
          </a:graphicData>
        </a:graphic>
      </p:graphicFrame>
      <p:sp>
        <p:nvSpPr>
          <p:cNvPr id="5" name="Rechteck 4" hidden="1"/>
          <p:cNvSpPr/>
          <p:nvPr>
            <p:custDataLst>
              <p:tags r:id="rId2"/>
            </p:custDataLst>
          </p:nvPr>
        </p:nvSpPr>
        <p:spPr bwMode="auto">
          <a:xfrm>
            <a:off x="0" y="1"/>
            <a:ext cx="158750" cy="158750"/>
          </a:xfrm>
          <a:prstGeom prst="rect">
            <a:avLst/>
          </a:prstGeom>
          <a:solidFill>
            <a:schemeClr val="bg1"/>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defTabSz="914197">
              <a:spcBef>
                <a:spcPct val="0"/>
              </a:spcBef>
              <a:spcAft>
                <a:spcPct val="0"/>
              </a:spcAft>
            </a:pPr>
            <a:endParaRPr lang="de-DE" sz="1000" dirty="0">
              <a:solidFill>
                <a:prstClr val="white"/>
              </a:solidFill>
              <a:latin typeface="Arial"/>
              <a:sym typeface="Arial"/>
            </a:endParaRPr>
          </a:p>
        </p:txBody>
      </p:sp>
      <p:sp>
        <p:nvSpPr>
          <p:cNvPr id="90" name="Rechteck 89"/>
          <p:cNvSpPr/>
          <p:nvPr/>
        </p:nvSpPr>
        <p:spPr>
          <a:xfrm>
            <a:off x="755576" y="1700213"/>
            <a:ext cx="1404000" cy="2844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smtClean="0">
                <a:solidFill>
                  <a:schemeClr val="tx1"/>
                </a:solidFill>
              </a:rPr>
              <a:t>1st phase</a:t>
            </a:r>
            <a:endParaRPr lang="de-DE" sz="1400" b="1" dirty="0">
              <a:solidFill>
                <a:schemeClr val="tx1"/>
              </a:solidFill>
            </a:endParaRPr>
          </a:p>
        </p:txBody>
      </p:sp>
      <p:sp>
        <p:nvSpPr>
          <p:cNvPr id="91" name="Rechteck 90"/>
          <p:cNvSpPr/>
          <p:nvPr/>
        </p:nvSpPr>
        <p:spPr>
          <a:xfrm>
            <a:off x="3563888" y="1700213"/>
            <a:ext cx="2808000" cy="284400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smtClean="0">
                <a:solidFill>
                  <a:schemeClr val="tx1"/>
                </a:solidFill>
              </a:rPr>
              <a:t>3rd and 4th phase  </a:t>
            </a:r>
            <a:br>
              <a:rPr lang="de-DE" sz="1400" b="1" smtClean="0">
                <a:solidFill>
                  <a:schemeClr val="tx1"/>
                </a:solidFill>
              </a:rPr>
            </a:br>
            <a:r>
              <a:rPr lang="de-DE" sz="1400" b="1" smtClean="0">
                <a:solidFill>
                  <a:schemeClr val="tx1"/>
                </a:solidFill>
              </a:rPr>
              <a:t>(as planned)</a:t>
            </a:r>
            <a:endParaRPr lang="de-DE" sz="1400" b="1" dirty="0">
              <a:solidFill>
                <a:schemeClr val="tx1"/>
              </a:solidFill>
            </a:endParaRPr>
          </a:p>
        </p:txBody>
      </p:sp>
      <p:sp>
        <p:nvSpPr>
          <p:cNvPr id="92" name="Rechteck 91"/>
          <p:cNvSpPr/>
          <p:nvPr/>
        </p:nvSpPr>
        <p:spPr>
          <a:xfrm>
            <a:off x="2159888" y="1700213"/>
            <a:ext cx="1404000" cy="284400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smtClean="0">
                <a:solidFill>
                  <a:schemeClr val="tx1"/>
                </a:solidFill>
              </a:rPr>
              <a:t>2nd phase</a:t>
            </a:r>
            <a:endParaRPr lang="de-DE" sz="1400" b="1" dirty="0">
              <a:solidFill>
                <a:schemeClr val="tx1"/>
              </a:solidFill>
            </a:endParaRPr>
          </a:p>
        </p:txBody>
      </p:sp>
      <p:sp>
        <p:nvSpPr>
          <p:cNvPr id="3" name="Textplatzhalter 2"/>
          <p:cNvSpPr>
            <a:spLocks noGrp="1"/>
          </p:cNvSpPr>
          <p:nvPr>
            <p:ph type="body" sz="quarter" idx="13"/>
          </p:nvPr>
        </p:nvSpPr>
        <p:spPr/>
        <p:txBody>
          <a:bodyPr/>
          <a:lstStyle/>
          <a:p>
            <a:r>
              <a:rPr lang="de-DE" dirty="0" err="1" smtClean="0"/>
              <a:t>RGM‘s</a:t>
            </a:r>
            <a:r>
              <a:rPr lang="de-DE" dirty="0" smtClean="0"/>
              <a:t> Roll-Out </a:t>
            </a:r>
            <a:r>
              <a:rPr lang="de-DE" dirty="0" err="1" smtClean="0"/>
              <a:t>is</a:t>
            </a:r>
            <a:r>
              <a:rPr lang="de-DE" dirty="0" smtClean="0"/>
              <a:t> </a:t>
            </a:r>
            <a:r>
              <a:rPr lang="de-DE" dirty="0" err="1" smtClean="0"/>
              <a:t>secured</a:t>
            </a:r>
            <a:r>
              <a:rPr lang="de-DE" dirty="0" smtClean="0"/>
              <a:t> </a:t>
            </a:r>
            <a:r>
              <a:rPr lang="de-DE" dirty="0" err="1" smtClean="0"/>
              <a:t>by</a:t>
            </a:r>
            <a:r>
              <a:rPr lang="de-DE" dirty="0" smtClean="0"/>
              <a:t> </a:t>
            </a:r>
          </a:p>
          <a:p>
            <a:r>
              <a:rPr lang="de-DE" dirty="0" err="1" smtClean="0"/>
              <a:t>approach</a:t>
            </a:r>
            <a:r>
              <a:rPr lang="de-DE" dirty="0" smtClean="0"/>
              <a:t> </a:t>
            </a:r>
            <a:r>
              <a:rPr lang="de-DE" dirty="0" err="1" smtClean="0"/>
              <a:t>of</a:t>
            </a:r>
            <a:r>
              <a:rPr lang="de-DE" dirty="0" smtClean="0"/>
              <a:t> </a:t>
            </a:r>
            <a:r>
              <a:rPr lang="de-DE" dirty="0" err="1" smtClean="0"/>
              <a:t>transfer</a:t>
            </a:r>
            <a:r>
              <a:rPr lang="de-DE" dirty="0" smtClean="0"/>
              <a:t>-Workshop </a:t>
            </a:r>
            <a:r>
              <a:rPr lang="de-DE" dirty="0" err="1" smtClean="0"/>
              <a:t>until</a:t>
            </a:r>
            <a:r>
              <a:rPr lang="de-DE" dirty="0" smtClean="0"/>
              <a:t> Q4/2015.</a:t>
            </a:r>
            <a:endParaRPr lang="de-DE" dirty="0"/>
          </a:p>
        </p:txBody>
      </p:sp>
      <p:graphicFrame>
        <p:nvGraphicFramePr>
          <p:cNvPr id="6" name="Objekt 5"/>
          <p:cNvGraphicFramePr>
            <a:graphicFrameLocks noChangeAspect="1"/>
          </p:cNvGraphicFramePr>
          <p:nvPr>
            <p:extLst>
              <p:ext uri="{D42A27DB-BD31-4B8C-83A1-F6EECF244321}">
                <p14:modId xmlns="" xmlns:p14="http://schemas.microsoft.com/office/powerpoint/2010/main" val="3278255761"/>
              </p:ext>
            </p:extLst>
          </p:nvPr>
        </p:nvGraphicFramePr>
        <p:xfrm>
          <a:off x="348133" y="1412776"/>
          <a:ext cx="6096075" cy="3390906"/>
        </p:xfrm>
        <a:graphic>
          <a:graphicData uri="http://schemas.openxmlformats.org/presentationml/2006/ole">
            <p:oleObj spid="_x0000_s148483" name="Chart" r:id="rId23" imgW="6096075" imgH="3390906" progId="MSGraph.Chart.8">
              <p:embed followColorScheme="full"/>
            </p:oleObj>
          </a:graphicData>
        </a:graphic>
      </p:graphicFrame>
      <p:sp>
        <p:nvSpPr>
          <p:cNvPr id="114" name="Rechteck 113"/>
          <p:cNvSpPr/>
          <p:nvPr>
            <p:custDataLst>
              <p:tags r:id="rId3"/>
            </p:custDataLst>
          </p:nvPr>
        </p:nvSpPr>
        <p:spPr bwMode="auto">
          <a:xfrm flipV="1">
            <a:off x="3486150" y="4670425"/>
            <a:ext cx="152400" cy="482600"/>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nchorCtr="0">
            <a:noAutofit/>
          </a:bodyPr>
          <a:lstStyle/>
          <a:p>
            <a:pPr algn="r" defTabSz="914197">
              <a:spcBef>
                <a:spcPct val="0"/>
              </a:spcBef>
              <a:spcAft>
                <a:spcPct val="0"/>
              </a:spcAft>
            </a:pPr>
            <a:fld id="{F90F9134-984C-419A-B1FC-B1ADB4D895EF}" type="datetime'''''''''''''''''''''Q4/''''''2''''0''''1''''4'''''''''''''''''">
              <a:rPr lang="en-US" sz="1000" smtClean="0">
                <a:solidFill>
                  <a:srgbClr val="000000"/>
                </a:solidFill>
                <a:latin typeface="Arial"/>
                <a:sym typeface="Arial"/>
              </a:rPr>
              <a:pPr algn="r" defTabSz="914197">
                <a:spcBef>
                  <a:spcPct val="0"/>
                </a:spcBef>
                <a:spcAft>
                  <a:spcPct val="0"/>
                </a:spcAft>
              </a:pPr>
              <a:t>Q4/2014</a:t>
            </a:fld>
            <a:endParaRPr lang="de-DE" sz="1000" dirty="0">
              <a:solidFill>
                <a:srgbClr val="000000"/>
              </a:solidFill>
              <a:latin typeface="Arial"/>
              <a:sym typeface="Arial"/>
            </a:endParaRPr>
          </a:p>
        </p:txBody>
      </p:sp>
      <p:sp>
        <p:nvSpPr>
          <p:cNvPr id="115" name="Rechteck 114"/>
          <p:cNvSpPr/>
          <p:nvPr>
            <p:custDataLst>
              <p:tags r:id="rId4"/>
            </p:custDataLst>
          </p:nvPr>
        </p:nvSpPr>
        <p:spPr bwMode="auto">
          <a:xfrm flipV="1">
            <a:off x="4191000" y="4670425"/>
            <a:ext cx="152400" cy="482600"/>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nchorCtr="0">
            <a:noAutofit/>
          </a:bodyPr>
          <a:lstStyle/>
          <a:p>
            <a:pPr algn="r" defTabSz="914197">
              <a:spcBef>
                <a:spcPct val="0"/>
              </a:spcBef>
              <a:spcAft>
                <a:spcPct val="0"/>
              </a:spcAft>
            </a:pPr>
            <a:fld id="{C6ED2409-0230-4127-B934-999F9F6CFDD9}" type="datetime'''''Q1''''''''''/''''''''''''''20''''''''''''1''''''5'''''''''">
              <a:rPr lang="en-US" sz="1000" smtClean="0">
                <a:solidFill>
                  <a:srgbClr val="000000"/>
                </a:solidFill>
                <a:latin typeface="Arial"/>
                <a:sym typeface="Arial"/>
              </a:rPr>
              <a:pPr algn="r" defTabSz="914197">
                <a:spcBef>
                  <a:spcPct val="0"/>
                </a:spcBef>
                <a:spcAft>
                  <a:spcPct val="0"/>
                </a:spcAft>
              </a:pPr>
              <a:t>Q1/2015</a:t>
            </a:fld>
            <a:endParaRPr lang="de-DE" sz="1000" dirty="0">
              <a:solidFill>
                <a:srgbClr val="000000"/>
              </a:solidFill>
              <a:latin typeface="Arial"/>
              <a:sym typeface="Arial"/>
            </a:endParaRPr>
          </a:p>
        </p:txBody>
      </p:sp>
      <p:sp>
        <p:nvSpPr>
          <p:cNvPr id="41" name="Rechteck 40"/>
          <p:cNvSpPr/>
          <p:nvPr>
            <p:custDataLst>
              <p:tags r:id="rId5"/>
            </p:custDataLst>
          </p:nvPr>
        </p:nvSpPr>
        <p:spPr bwMode="auto">
          <a:xfrm flipV="1">
            <a:off x="4895850" y="4670425"/>
            <a:ext cx="152400" cy="4826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nchorCtr="0">
            <a:noAutofit/>
          </a:bodyPr>
          <a:lstStyle/>
          <a:p>
            <a:pPr algn="r">
              <a:spcBef>
                <a:spcPct val="0"/>
              </a:spcBef>
              <a:spcAft>
                <a:spcPct val="0"/>
              </a:spcAft>
            </a:pPr>
            <a:fld id="{E8F3B653-BE76-4F1F-A8C6-AB4D3BF50971}" type="datetime'''''Q''''2''''''''''/''''''2''''''''''''''''''''01''5'''''''''">
              <a:rPr lang="en-US" sz="1000" smtClean="0">
                <a:solidFill>
                  <a:schemeClr val="tx1"/>
                </a:solidFill>
                <a:latin typeface="Arial"/>
                <a:sym typeface="Arial"/>
              </a:rPr>
              <a:pPr algn="r">
                <a:spcBef>
                  <a:spcPct val="0"/>
                </a:spcBef>
                <a:spcAft>
                  <a:spcPct val="0"/>
                </a:spcAft>
              </a:pPr>
              <a:t>Q2/2015</a:t>
            </a:fld>
            <a:endParaRPr lang="de-DE" sz="1000" dirty="0">
              <a:solidFill>
                <a:schemeClr val="tx1"/>
              </a:solidFill>
              <a:latin typeface="Arial"/>
              <a:sym typeface="Arial"/>
            </a:endParaRPr>
          </a:p>
        </p:txBody>
      </p:sp>
      <p:sp>
        <p:nvSpPr>
          <p:cNvPr id="54" name="Rechteck 53"/>
          <p:cNvSpPr/>
          <p:nvPr>
            <p:custDataLst>
              <p:tags r:id="rId6"/>
            </p:custDataLst>
          </p:nvPr>
        </p:nvSpPr>
        <p:spPr bwMode="auto">
          <a:xfrm flipV="1">
            <a:off x="6296025" y="4670425"/>
            <a:ext cx="152400" cy="4826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nchorCtr="0">
            <a:noAutofit/>
          </a:bodyPr>
          <a:lstStyle/>
          <a:p>
            <a:pPr algn="r">
              <a:spcBef>
                <a:spcPct val="0"/>
              </a:spcBef>
              <a:spcAft>
                <a:spcPct val="0"/>
              </a:spcAft>
            </a:pPr>
            <a:fld id="{976D7C3E-8526-4C0A-B043-A4781B8743C3}" type="datetime'Q''4''''''''''/''''''''''''2''0''''''''''''15'''''''''''">
              <a:rPr lang="en-US" sz="1000" smtClean="0">
                <a:solidFill>
                  <a:schemeClr val="tx1"/>
                </a:solidFill>
                <a:latin typeface="Arial"/>
                <a:sym typeface="Arial"/>
              </a:rPr>
              <a:pPr algn="r">
                <a:spcBef>
                  <a:spcPct val="0"/>
                </a:spcBef>
                <a:spcAft>
                  <a:spcPct val="0"/>
                </a:spcAft>
              </a:pPr>
              <a:t>Q4/2015</a:t>
            </a:fld>
            <a:endParaRPr lang="de-DE" sz="1000" dirty="0">
              <a:solidFill>
                <a:schemeClr val="tx1"/>
              </a:solidFill>
              <a:latin typeface="Arial"/>
              <a:sym typeface="Arial"/>
            </a:endParaRPr>
          </a:p>
        </p:txBody>
      </p:sp>
      <p:sp>
        <p:nvSpPr>
          <p:cNvPr id="52" name="Rechteck 51"/>
          <p:cNvSpPr/>
          <p:nvPr>
            <p:custDataLst>
              <p:tags r:id="rId7"/>
            </p:custDataLst>
          </p:nvPr>
        </p:nvSpPr>
        <p:spPr bwMode="auto">
          <a:xfrm flipV="1">
            <a:off x="5591175" y="4670425"/>
            <a:ext cx="152400" cy="4826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nchorCtr="0">
            <a:noAutofit/>
          </a:bodyPr>
          <a:lstStyle/>
          <a:p>
            <a:pPr algn="r">
              <a:spcBef>
                <a:spcPct val="0"/>
              </a:spcBef>
              <a:spcAft>
                <a:spcPct val="0"/>
              </a:spcAft>
            </a:pPr>
            <a:fld id="{A79D8C60-48F4-4344-9B70-5BC059E15D83}" type="datetime'''''''Q3''/''''''''''''''''''''2''0''''''1''''''''''5'''''''">
              <a:rPr lang="en-US" sz="1000" smtClean="0">
                <a:solidFill>
                  <a:schemeClr val="tx1"/>
                </a:solidFill>
                <a:latin typeface="Arial"/>
                <a:sym typeface="Arial"/>
              </a:rPr>
              <a:pPr algn="r">
                <a:spcBef>
                  <a:spcPct val="0"/>
                </a:spcBef>
                <a:spcAft>
                  <a:spcPct val="0"/>
                </a:spcAft>
              </a:pPr>
              <a:t>Q3/2015</a:t>
            </a:fld>
            <a:endParaRPr lang="de-DE" sz="1000" dirty="0">
              <a:solidFill>
                <a:schemeClr val="tx1"/>
              </a:solidFill>
              <a:latin typeface="Arial"/>
              <a:sym typeface="Arial"/>
            </a:endParaRPr>
          </a:p>
        </p:txBody>
      </p:sp>
      <p:sp>
        <p:nvSpPr>
          <p:cNvPr id="53" name="Textplatzhalter 28"/>
          <p:cNvSpPr>
            <a:spLocks noGrp="1"/>
          </p:cNvSpPr>
          <p:nvPr>
            <p:custDataLst>
              <p:tags r:id="rId8"/>
            </p:custDataLst>
          </p:nvPr>
        </p:nvSpPr>
        <p:spPr bwMode="auto">
          <a:xfrm flipV="1">
            <a:off x="2789237" y="4670425"/>
            <a:ext cx="136525" cy="482600"/>
          </a:xfrm>
          <a:prstGeom prst="rect">
            <a:avLst/>
          </a:prstGeom>
          <a:noFill/>
          <a:effectLst/>
        </p:spPr>
        <p:txBody>
          <a:bodyPr vert="eaVert" wrap="none" lIns="0" tIns="0" rIns="0" bIns="0" anchor="ctr" anchorCtr="0">
            <a:no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lnSpc>
                <a:spcPct val="90000"/>
              </a:lnSpc>
              <a:spcBef>
                <a:spcPct val="0"/>
              </a:spcBef>
              <a:spcAft>
                <a:spcPct val="0"/>
              </a:spcAft>
              <a:buNone/>
            </a:pPr>
            <a:fld id="{DB9517B1-7E47-4FAA-8B8D-4519B5D6B4EE}" type="datetime'Q''''''''''''''''''''''''3''''''/''2''01''''''''''''''4'''">
              <a:rPr lang="en-US" sz="1000" smtClean="0">
                <a:solidFill>
                  <a:srgbClr val="000000"/>
                </a:solidFill>
                <a:latin typeface="Arial"/>
                <a:sym typeface="Arial"/>
              </a:rPr>
              <a:pPr marL="0" indent="0" algn="r">
                <a:lnSpc>
                  <a:spcPct val="90000"/>
                </a:lnSpc>
                <a:spcBef>
                  <a:spcPct val="0"/>
                </a:spcBef>
                <a:spcAft>
                  <a:spcPct val="0"/>
                </a:spcAft>
                <a:buNone/>
              </a:pPr>
              <a:t>Q3/2014</a:t>
            </a:fld>
            <a:endParaRPr lang="de-DE" sz="1000" dirty="0">
              <a:solidFill>
                <a:srgbClr val="000000"/>
              </a:solidFill>
              <a:latin typeface="Arial"/>
              <a:sym typeface="Arial"/>
            </a:endParaRPr>
          </a:p>
        </p:txBody>
      </p:sp>
      <p:sp>
        <p:nvSpPr>
          <p:cNvPr id="51" name="Textplatzhalter 27"/>
          <p:cNvSpPr>
            <a:spLocks noGrp="1"/>
          </p:cNvSpPr>
          <p:nvPr>
            <p:custDataLst>
              <p:tags r:id="rId9"/>
            </p:custDataLst>
          </p:nvPr>
        </p:nvSpPr>
        <p:spPr bwMode="auto">
          <a:xfrm flipV="1">
            <a:off x="2093912" y="4670425"/>
            <a:ext cx="136525" cy="482600"/>
          </a:xfrm>
          <a:prstGeom prst="rect">
            <a:avLst/>
          </a:prstGeom>
          <a:noFill/>
          <a:effectLst/>
        </p:spPr>
        <p:txBody>
          <a:bodyPr vert="eaVert" wrap="none" lIns="0" tIns="0" rIns="0" bIns="0" anchor="ctr" anchorCtr="0">
            <a:no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lnSpc>
                <a:spcPct val="90000"/>
              </a:lnSpc>
              <a:spcBef>
                <a:spcPct val="0"/>
              </a:spcBef>
              <a:spcAft>
                <a:spcPct val="0"/>
              </a:spcAft>
              <a:buNone/>
            </a:pPr>
            <a:fld id="{9F895F4C-BEB8-402E-A2AE-739238AB0FBE}" type="datetime'Q''2/''''''2''''0''''''''''''''''''''''''''''''''14'''''''''">
              <a:rPr lang="en-US" sz="1000" smtClean="0">
                <a:solidFill>
                  <a:srgbClr val="000000"/>
                </a:solidFill>
                <a:latin typeface="Arial"/>
                <a:sym typeface="Arial"/>
              </a:rPr>
              <a:pPr marL="0" indent="0" algn="r">
                <a:lnSpc>
                  <a:spcPct val="90000"/>
                </a:lnSpc>
                <a:spcBef>
                  <a:spcPct val="0"/>
                </a:spcBef>
                <a:spcAft>
                  <a:spcPct val="0"/>
                </a:spcAft>
                <a:buNone/>
              </a:pPr>
              <a:t>Q2/2014</a:t>
            </a:fld>
            <a:endParaRPr lang="de-DE" sz="1000" dirty="0">
              <a:solidFill>
                <a:srgbClr val="000000"/>
              </a:solidFill>
              <a:latin typeface="Arial"/>
              <a:sym typeface="Arial"/>
            </a:endParaRPr>
          </a:p>
        </p:txBody>
      </p:sp>
      <p:sp>
        <p:nvSpPr>
          <p:cNvPr id="81" name="Rechteck 80"/>
          <p:cNvSpPr/>
          <p:nvPr>
            <p:custDataLst>
              <p:tags r:id="rId10"/>
            </p:custDataLst>
          </p:nvPr>
        </p:nvSpPr>
        <p:spPr bwMode="auto">
          <a:xfrm flipV="1">
            <a:off x="1381125" y="4670425"/>
            <a:ext cx="152400" cy="4826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nchorCtr="0">
            <a:noAutofit/>
          </a:bodyPr>
          <a:lstStyle/>
          <a:p>
            <a:pPr algn="r">
              <a:spcBef>
                <a:spcPct val="0"/>
              </a:spcBef>
              <a:spcAft>
                <a:spcPct val="0"/>
              </a:spcAft>
            </a:pPr>
            <a:fld id="{8EA2FD4B-3517-4051-839D-DAF3B40A13E6}" type="datetime'Q''1''/2''''0''''''''''''''''''''''''''''''''''''''''''''14'''">
              <a:rPr lang="en-US" sz="1000" smtClean="0">
                <a:solidFill>
                  <a:schemeClr val="tx1"/>
                </a:solidFill>
                <a:latin typeface="Arial"/>
                <a:sym typeface="Arial"/>
              </a:rPr>
              <a:pPr algn="r">
                <a:spcBef>
                  <a:spcPct val="0"/>
                </a:spcBef>
                <a:spcAft>
                  <a:spcPct val="0"/>
                </a:spcAft>
              </a:pPr>
              <a:t>Q1/2014</a:t>
            </a:fld>
            <a:endParaRPr lang="de-DE" sz="1000">
              <a:solidFill>
                <a:schemeClr val="tx1"/>
              </a:solidFill>
              <a:latin typeface="Arial"/>
              <a:sym typeface="Arial"/>
            </a:endParaRPr>
          </a:p>
        </p:txBody>
      </p:sp>
      <p:sp>
        <p:nvSpPr>
          <p:cNvPr id="49" name="Textplatzhalter 26"/>
          <p:cNvSpPr>
            <a:spLocks noGrp="1"/>
          </p:cNvSpPr>
          <p:nvPr>
            <p:custDataLst>
              <p:tags r:id="rId11"/>
            </p:custDataLst>
          </p:nvPr>
        </p:nvSpPr>
        <p:spPr bwMode="auto">
          <a:xfrm flipV="1">
            <a:off x="684212" y="4670425"/>
            <a:ext cx="136525" cy="482600"/>
          </a:xfrm>
          <a:prstGeom prst="rect">
            <a:avLst/>
          </a:prstGeom>
          <a:noFill/>
          <a:effectLst/>
        </p:spPr>
        <p:txBody>
          <a:bodyPr vert="eaVert" wrap="none" lIns="0" tIns="0" rIns="0" bIns="0" anchor="ctr" anchorCtr="0">
            <a:noAutofit/>
          </a:bodyPr>
          <a:lst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lnSpc>
                <a:spcPct val="90000"/>
              </a:lnSpc>
              <a:spcBef>
                <a:spcPct val="0"/>
              </a:spcBef>
              <a:spcAft>
                <a:spcPct val="0"/>
              </a:spcAft>
              <a:buNone/>
            </a:pPr>
            <a:fld id="{4B3BE401-1DC1-4974-B54E-54708BCF14B3}" type="datetime'Q''4''''''/''''''20''''''''''''''''13'''''''''''''''''''''''''">
              <a:rPr lang="en-US" sz="1000" smtClean="0">
                <a:solidFill>
                  <a:srgbClr val="000000"/>
                </a:solidFill>
                <a:latin typeface="Arial"/>
                <a:sym typeface="Arial"/>
              </a:rPr>
              <a:pPr marL="0" indent="0" algn="r">
                <a:lnSpc>
                  <a:spcPct val="90000"/>
                </a:lnSpc>
                <a:spcBef>
                  <a:spcPct val="0"/>
                </a:spcBef>
                <a:spcAft>
                  <a:spcPct val="0"/>
                </a:spcAft>
                <a:buNone/>
              </a:pPr>
              <a:t>Q4/2013</a:t>
            </a:fld>
            <a:endParaRPr lang="de-DE" sz="1000" dirty="0">
              <a:solidFill>
                <a:srgbClr val="000000"/>
              </a:solidFill>
              <a:latin typeface="Arial"/>
              <a:sym typeface="Arial"/>
            </a:endParaRPr>
          </a:p>
        </p:txBody>
      </p:sp>
      <p:sp>
        <p:nvSpPr>
          <p:cNvPr id="570" name="Textfeld 569"/>
          <p:cNvSpPr txBox="1"/>
          <p:nvPr>
            <p:custDataLst>
              <p:tags r:id="rId12"/>
            </p:custDataLst>
          </p:nvPr>
        </p:nvSpPr>
        <p:spPr>
          <a:xfrm>
            <a:off x="395536" y="1376772"/>
            <a:ext cx="2395872" cy="276979"/>
          </a:xfrm>
          <a:prstGeom prst="rect">
            <a:avLst/>
          </a:prstGeom>
          <a:noFill/>
        </p:spPr>
        <p:txBody>
          <a:bodyPr wrap="none" lIns="91420" tIns="45710" rIns="91420" bIns="45710" rtlCol="0">
            <a:spAutoFit/>
          </a:bodyPr>
          <a:lstStyle/>
          <a:p>
            <a:pPr defTabSz="914197"/>
            <a:r>
              <a:rPr lang="de-DE" sz="1200" smtClean="0">
                <a:solidFill>
                  <a:prstClr val="black"/>
                </a:solidFill>
              </a:rPr>
              <a:t>Run-up in number of vehicle projects*</a:t>
            </a:r>
            <a:endParaRPr lang="de-DE" sz="1200" dirty="0" smtClean="0">
              <a:solidFill>
                <a:prstClr val="black"/>
              </a:solidFill>
            </a:endParaRPr>
          </a:p>
        </p:txBody>
      </p:sp>
      <p:sp>
        <p:nvSpPr>
          <p:cNvPr id="123" name="Rechteck 122"/>
          <p:cNvSpPr/>
          <p:nvPr>
            <p:custDataLst>
              <p:tags r:id="rId13"/>
            </p:custDataLst>
          </p:nvPr>
        </p:nvSpPr>
        <p:spPr>
          <a:xfrm>
            <a:off x="465463" y="5229200"/>
            <a:ext cx="8208962" cy="1296000"/>
          </a:xfrm>
          <a:prstGeom prst="rect">
            <a:avLst/>
          </a:prstGeom>
          <a:solidFill>
            <a:schemeClr val="tx2">
              <a:lumMod val="20000"/>
              <a:lumOff val="80000"/>
            </a:schemeClr>
          </a:solidFill>
          <a:ln w="12700">
            <a:noFill/>
          </a:ln>
        </p:spPr>
        <p:txBody>
          <a:bodyPr wrap="square" lIns="107989" tIns="71992" rIns="107989" bIns="71992" rtlCol="0">
            <a:noAutofit/>
          </a:bodyPr>
          <a:lstStyle/>
          <a:p>
            <a:pPr marL="177782" indent="-177782">
              <a:spcAft>
                <a:spcPts val="600"/>
              </a:spcAft>
            </a:pPr>
            <a:r>
              <a:rPr lang="de-DE" sz="1400" b="1" dirty="0" err="1" smtClean="0">
                <a:solidFill>
                  <a:prstClr val="black"/>
                </a:solidFill>
              </a:rPr>
              <a:t>Securing</a:t>
            </a:r>
            <a:r>
              <a:rPr lang="de-DE" sz="1400" b="1" dirty="0" smtClean="0">
                <a:solidFill>
                  <a:prstClr val="black"/>
                </a:solidFill>
              </a:rPr>
              <a:t> roll-out:</a:t>
            </a:r>
          </a:p>
          <a:p>
            <a:pPr marL="177800" lvl="0" indent="-177800">
              <a:buFont typeface="Wingdings" pitchFamily="2" charset="2"/>
              <a:buChar char="§"/>
            </a:pPr>
            <a:r>
              <a:rPr lang="de-DE" sz="1400" b="1" dirty="0" smtClean="0"/>
              <a:t>Goal-</a:t>
            </a:r>
            <a:r>
              <a:rPr lang="de-DE" sz="1400" b="1" dirty="0" err="1" smtClean="0"/>
              <a:t>oriented</a:t>
            </a:r>
            <a:r>
              <a:rPr lang="de-DE" sz="1400" b="1" dirty="0" smtClean="0"/>
              <a:t> </a:t>
            </a:r>
            <a:r>
              <a:rPr lang="de-DE" sz="1400" b="1" dirty="0" err="1" smtClean="0"/>
              <a:t>enabling</a:t>
            </a:r>
            <a:r>
              <a:rPr lang="de-DE" sz="1400" b="1" dirty="0" smtClean="0"/>
              <a:t> </a:t>
            </a:r>
            <a:r>
              <a:rPr lang="de-DE" sz="1400" b="1" dirty="0" err="1" smtClean="0"/>
              <a:t>of</a:t>
            </a:r>
            <a:r>
              <a:rPr lang="de-DE" sz="1400" b="1" dirty="0" smtClean="0"/>
              <a:t> </a:t>
            </a:r>
            <a:r>
              <a:rPr lang="de-DE" sz="1400" b="1" dirty="0" err="1" smtClean="0"/>
              <a:t>target</a:t>
            </a:r>
            <a:r>
              <a:rPr lang="de-DE" sz="1400" b="1" dirty="0" smtClean="0"/>
              <a:t> </a:t>
            </a:r>
            <a:r>
              <a:rPr lang="de-DE" sz="1400" b="1" dirty="0" err="1" smtClean="0"/>
              <a:t>groups</a:t>
            </a:r>
            <a:r>
              <a:rPr lang="de-DE" sz="1400" b="1" dirty="0" smtClean="0"/>
              <a:t> </a:t>
            </a:r>
            <a:r>
              <a:rPr lang="de-DE" sz="1400" dirty="0" smtClean="0"/>
              <a:t>in order </a:t>
            </a:r>
            <a:r>
              <a:rPr lang="de-DE" sz="1400" dirty="0" err="1" smtClean="0"/>
              <a:t>to</a:t>
            </a:r>
            <a:r>
              <a:rPr lang="de-DE" sz="1400" dirty="0" smtClean="0"/>
              <a:t> </a:t>
            </a:r>
            <a:r>
              <a:rPr lang="de-DE" sz="1400" dirty="0" err="1" smtClean="0"/>
              <a:t>achieve</a:t>
            </a:r>
            <a:r>
              <a:rPr lang="de-DE" sz="1400" dirty="0" smtClean="0"/>
              <a:t> a </a:t>
            </a:r>
            <a:r>
              <a:rPr lang="de-DE" sz="1400" dirty="0" err="1" smtClean="0"/>
              <a:t>comprehensive</a:t>
            </a:r>
            <a:r>
              <a:rPr lang="de-DE" sz="1400" dirty="0" smtClean="0"/>
              <a:t> </a:t>
            </a:r>
            <a:r>
              <a:rPr lang="de-DE" sz="1400" dirty="0" err="1" smtClean="0"/>
              <a:t>implementation</a:t>
            </a:r>
            <a:r>
              <a:rPr lang="de-DE" sz="1400" dirty="0" smtClean="0"/>
              <a:t> in </a:t>
            </a:r>
            <a:r>
              <a:rPr lang="de-DE" sz="1400" dirty="0" err="1" smtClean="0"/>
              <a:t>vehicle</a:t>
            </a:r>
            <a:r>
              <a:rPr lang="de-DE" sz="1400" dirty="0" smtClean="0"/>
              <a:t> </a:t>
            </a:r>
            <a:r>
              <a:rPr lang="de-DE" sz="1400" dirty="0" err="1" smtClean="0"/>
              <a:t>projects</a:t>
            </a:r>
            <a:endParaRPr lang="de-DE" sz="1400" dirty="0" smtClean="0"/>
          </a:p>
          <a:p>
            <a:pPr marL="177800" lvl="0" indent="-177800">
              <a:buFont typeface="Wingdings" pitchFamily="2" charset="2"/>
              <a:buChar char="§"/>
            </a:pPr>
            <a:r>
              <a:rPr lang="de-DE" sz="1400" b="1" dirty="0" smtClean="0"/>
              <a:t>Initial </a:t>
            </a:r>
            <a:r>
              <a:rPr lang="de-DE" sz="1400" b="1" dirty="0" err="1" smtClean="0"/>
              <a:t>development</a:t>
            </a:r>
            <a:r>
              <a:rPr lang="de-DE" sz="1400" b="1" dirty="0" smtClean="0"/>
              <a:t> </a:t>
            </a:r>
            <a:r>
              <a:rPr lang="de-DE" sz="1400" b="1" dirty="0" err="1" smtClean="0"/>
              <a:t>of</a:t>
            </a:r>
            <a:r>
              <a:rPr lang="de-DE" sz="1400" b="1" dirty="0" smtClean="0"/>
              <a:t> RGM </a:t>
            </a:r>
            <a:r>
              <a:rPr lang="de-DE" sz="1400" b="1" dirty="0" err="1" smtClean="0"/>
              <a:t>results</a:t>
            </a:r>
            <a:r>
              <a:rPr lang="de-DE" sz="1400" b="1" dirty="0" smtClean="0"/>
              <a:t> </a:t>
            </a:r>
            <a:r>
              <a:rPr lang="de-DE" sz="1400" b="1" dirty="0" err="1" smtClean="0"/>
              <a:t>and</a:t>
            </a:r>
            <a:r>
              <a:rPr lang="de-DE" sz="1400" b="1" dirty="0" smtClean="0"/>
              <a:t> </a:t>
            </a:r>
            <a:r>
              <a:rPr lang="de-DE" sz="1400" b="1" dirty="0" err="1" smtClean="0"/>
              <a:t>instruments</a:t>
            </a:r>
            <a:r>
              <a:rPr lang="de-DE" sz="1400" b="1" dirty="0" smtClean="0"/>
              <a:t> </a:t>
            </a:r>
            <a:r>
              <a:rPr lang="de-DE" sz="1400" dirty="0" smtClean="0"/>
              <a:t>in </a:t>
            </a:r>
            <a:r>
              <a:rPr lang="de-DE" sz="1400" dirty="0" err="1" smtClean="0"/>
              <a:t>respective</a:t>
            </a:r>
            <a:r>
              <a:rPr lang="de-DE" sz="1400" dirty="0" smtClean="0"/>
              <a:t> </a:t>
            </a:r>
            <a:r>
              <a:rPr lang="de-DE" sz="1400" dirty="0" err="1" smtClean="0"/>
              <a:t>vehicle</a:t>
            </a:r>
            <a:r>
              <a:rPr lang="de-DE" sz="1400" dirty="0" smtClean="0"/>
              <a:t> </a:t>
            </a:r>
            <a:r>
              <a:rPr lang="de-DE" sz="1400" dirty="0" err="1" smtClean="0"/>
              <a:t>projects</a:t>
            </a:r>
            <a:r>
              <a:rPr lang="de-DE" sz="1400" dirty="0" smtClean="0"/>
              <a:t> </a:t>
            </a:r>
            <a:r>
              <a:rPr lang="de-DE" sz="1400" dirty="0" err="1" smtClean="0"/>
              <a:t>and</a:t>
            </a:r>
            <a:r>
              <a:rPr lang="de-DE" sz="1400" dirty="0" smtClean="0"/>
              <a:t> </a:t>
            </a:r>
            <a:r>
              <a:rPr lang="de-DE" sz="1400" dirty="0" err="1" smtClean="0"/>
              <a:t>maturity</a:t>
            </a:r>
            <a:r>
              <a:rPr lang="de-DE" sz="1400" dirty="0" smtClean="0"/>
              <a:t> </a:t>
            </a:r>
            <a:r>
              <a:rPr lang="de-DE" sz="1400" dirty="0" err="1" smtClean="0"/>
              <a:t>levels</a:t>
            </a:r>
            <a:r>
              <a:rPr lang="de-DE" sz="1400" dirty="0" smtClean="0"/>
              <a:t> (</a:t>
            </a:r>
            <a:r>
              <a:rPr lang="de-DE" sz="1400" dirty="0" err="1" smtClean="0"/>
              <a:t>qualification</a:t>
            </a:r>
            <a:r>
              <a:rPr lang="de-DE" sz="1400" dirty="0" smtClean="0"/>
              <a:t> </a:t>
            </a:r>
            <a:r>
              <a:rPr lang="de-DE" sz="1400" dirty="0" err="1" smtClean="0"/>
              <a:t>for</a:t>
            </a:r>
            <a:r>
              <a:rPr lang="de-DE" sz="1400" dirty="0" smtClean="0"/>
              <a:t> original </a:t>
            </a:r>
            <a:r>
              <a:rPr lang="de-DE" sz="1400" dirty="0" err="1" smtClean="0"/>
              <a:t>work</a:t>
            </a:r>
            <a:r>
              <a:rPr lang="de-DE" sz="1400" dirty="0" smtClean="0"/>
              <a:t> </a:t>
            </a:r>
            <a:r>
              <a:rPr lang="de-DE" sz="1400" dirty="0" err="1" smtClean="0"/>
              <a:t>of</a:t>
            </a:r>
            <a:r>
              <a:rPr lang="de-DE" sz="1400" dirty="0" smtClean="0"/>
              <a:t> </a:t>
            </a:r>
            <a:r>
              <a:rPr lang="de-DE" sz="1400" dirty="0" err="1" smtClean="0"/>
              <a:t>respective</a:t>
            </a:r>
            <a:r>
              <a:rPr lang="de-DE" sz="1400" dirty="0" smtClean="0"/>
              <a:t> </a:t>
            </a:r>
            <a:r>
              <a:rPr lang="de-DE" sz="1400" dirty="0" err="1" smtClean="0"/>
              <a:t>roles</a:t>
            </a:r>
            <a:r>
              <a:rPr lang="de-DE" sz="1400" dirty="0" smtClean="0"/>
              <a:t>)</a:t>
            </a:r>
          </a:p>
          <a:p>
            <a:pPr marL="177800" lvl="0" indent="-177800">
              <a:buFont typeface="Wingdings" pitchFamily="2" charset="2"/>
              <a:buChar char="§"/>
            </a:pPr>
            <a:r>
              <a:rPr lang="de-DE" sz="1400" b="1" dirty="0" err="1" smtClean="0"/>
              <a:t>Four-step</a:t>
            </a:r>
            <a:r>
              <a:rPr lang="de-DE" sz="1400" b="1" dirty="0" smtClean="0"/>
              <a:t> </a:t>
            </a:r>
            <a:r>
              <a:rPr lang="de-DE" sz="1400" b="1" dirty="0" err="1" smtClean="0"/>
              <a:t>transfer</a:t>
            </a:r>
            <a:r>
              <a:rPr lang="de-DE" sz="1400" b="1" dirty="0" smtClean="0"/>
              <a:t> </a:t>
            </a:r>
            <a:r>
              <a:rPr lang="de-DE" sz="1400" b="1" dirty="0" err="1" smtClean="0"/>
              <a:t>concept</a:t>
            </a:r>
            <a:r>
              <a:rPr lang="de-DE" sz="1400" b="1" dirty="0" smtClean="0"/>
              <a:t> </a:t>
            </a:r>
            <a:r>
              <a:rPr lang="de-DE" sz="1400" b="1" dirty="0" err="1" smtClean="0"/>
              <a:t>of</a:t>
            </a:r>
            <a:r>
              <a:rPr lang="de-DE" sz="1400" b="1" dirty="0" smtClean="0"/>
              <a:t> RGM </a:t>
            </a:r>
            <a:r>
              <a:rPr lang="de-DE" sz="1400" b="1" dirty="0" err="1" smtClean="0"/>
              <a:t>results</a:t>
            </a:r>
            <a:r>
              <a:rPr lang="de-DE" sz="1400" b="1" dirty="0" smtClean="0"/>
              <a:t> </a:t>
            </a:r>
            <a:r>
              <a:rPr lang="de-DE" sz="1400" b="1" dirty="0" err="1" smtClean="0"/>
              <a:t>and</a:t>
            </a:r>
            <a:r>
              <a:rPr lang="de-DE" sz="1400" b="1" dirty="0" smtClean="0"/>
              <a:t> </a:t>
            </a:r>
            <a:r>
              <a:rPr lang="de-DE" sz="1400" b="1" dirty="0" err="1" smtClean="0"/>
              <a:t>instruments</a:t>
            </a:r>
            <a:r>
              <a:rPr lang="de-DE" sz="1400" b="1" dirty="0" smtClean="0"/>
              <a:t> </a:t>
            </a:r>
            <a:r>
              <a:rPr lang="de-DE" sz="1400" dirty="0" smtClean="0"/>
              <a:t>in </a:t>
            </a:r>
            <a:r>
              <a:rPr lang="de-DE" sz="1400" dirty="0" err="1" smtClean="0"/>
              <a:t>vehicle</a:t>
            </a:r>
            <a:r>
              <a:rPr lang="de-DE" sz="1400" dirty="0" smtClean="0"/>
              <a:t> </a:t>
            </a:r>
            <a:r>
              <a:rPr lang="de-DE" sz="1400" dirty="0" err="1" smtClean="0"/>
              <a:t>projects</a:t>
            </a:r>
            <a:endParaRPr lang="de-DE" sz="1400" dirty="0"/>
          </a:p>
        </p:txBody>
      </p:sp>
      <p:sp>
        <p:nvSpPr>
          <p:cNvPr id="33" name="Textfeld 121"/>
          <p:cNvSpPr txBox="1"/>
          <p:nvPr>
            <p:custDataLst>
              <p:tags r:id="rId14"/>
            </p:custDataLst>
          </p:nvPr>
        </p:nvSpPr>
        <p:spPr>
          <a:xfrm>
            <a:off x="6588456" y="1700844"/>
            <a:ext cx="2088000" cy="360000"/>
          </a:xfrm>
          <a:prstGeom prst="rect">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0332" tIns="50332" rIns="50332" bIns="50332" rtlCol="0" anchor="ctr" anchorCtr="0"/>
          <a:lstStyle/>
          <a:p>
            <a:pPr algn="ctr" defTabSz="1278645"/>
            <a:r>
              <a:rPr lang="de-DE" sz="1600" b="1" smtClean="0">
                <a:solidFill>
                  <a:prstClr val="white"/>
                </a:solidFill>
              </a:rPr>
              <a:t>General set-up</a:t>
            </a:r>
            <a:endParaRPr lang="de-DE" sz="1600" b="1" dirty="0" smtClean="0">
              <a:solidFill>
                <a:prstClr val="white"/>
              </a:solidFill>
            </a:endParaRPr>
          </a:p>
        </p:txBody>
      </p:sp>
      <p:sp>
        <p:nvSpPr>
          <p:cNvPr id="34" name="Rechteck 122"/>
          <p:cNvSpPr/>
          <p:nvPr>
            <p:custDataLst>
              <p:tags r:id="rId15"/>
            </p:custDataLst>
          </p:nvPr>
        </p:nvSpPr>
        <p:spPr>
          <a:xfrm>
            <a:off x="6588456" y="2060848"/>
            <a:ext cx="2088000" cy="2448000"/>
          </a:xfrm>
          <a:prstGeom prst="rect">
            <a:avLst/>
          </a:prstGeom>
          <a:solidFill>
            <a:schemeClr val="tx2">
              <a:lumMod val="20000"/>
              <a:lumOff val="80000"/>
            </a:schemeClr>
          </a:solidFill>
          <a:ln w="12700">
            <a:noFill/>
          </a:ln>
        </p:spPr>
        <p:txBody>
          <a:bodyPr wrap="square" lIns="71906" tIns="71992" rIns="35953" bIns="71992" rtlCol="0">
            <a:noAutofit/>
          </a:bodyPr>
          <a:lstStyle/>
          <a:p>
            <a:pPr marL="177782" indent="-177782">
              <a:spcAft>
                <a:spcPts val="600"/>
              </a:spcAft>
              <a:buFont typeface="Wingdings" pitchFamily="2" charset="2"/>
              <a:buChar char="§"/>
            </a:pPr>
            <a:r>
              <a:rPr lang="de-DE" sz="1400" smtClean="0">
                <a:solidFill>
                  <a:prstClr val="black"/>
                </a:solidFill>
              </a:rPr>
              <a:t>Covering of RGM qualification by application in vehicle project</a:t>
            </a:r>
            <a:endParaRPr lang="de-DE" sz="1400" dirty="0" smtClean="0">
              <a:solidFill>
                <a:prstClr val="black"/>
              </a:solidFill>
            </a:endParaRPr>
          </a:p>
          <a:p>
            <a:pPr marL="177782" indent="-177782">
              <a:spcAft>
                <a:spcPts val="600"/>
              </a:spcAft>
              <a:buFont typeface="Wingdings" pitchFamily="2" charset="2"/>
              <a:buChar char="§"/>
            </a:pPr>
            <a:r>
              <a:rPr lang="de-DE" sz="1400" smtClean="0">
                <a:solidFill>
                  <a:prstClr val="black"/>
                </a:solidFill>
              </a:rPr>
              <a:t>Product range acc. to RGM Tailoring-Guideline and central roles acc. to process architecture</a:t>
            </a:r>
          </a:p>
          <a:p>
            <a:pPr marL="177782" indent="-177782">
              <a:spcAft>
                <a:spcPts val="600"/>
              </a:spcAft>
              <a:buFont typeface="Wingdings" pitchFamily="2" charset="2"/>
              <a:buChar char="§"/>
            </a:pPr>
            <a:r>
              <a:rPr lang="de-DE" sz="1400" smtClean="0">
                <a:solidFill>
                  <a:prstClr val="black"/>
                </a:solidFill>
              </a:rPr>
              <a:t>Available capacity of Maturity Level Managers</a:t>
            </a:r>
            <a:endParaRPr lang="de-DE" sz="1400" dirty="0" smtClean="0">
              <a:solidFill>
                <a:prstClr val="black"/>
              </a:solidFill>
            </a:endParaRPr>
          </a:p>
          <a:p>
            <a:pPr marL="177782" indent="-177782">
              <a:spcAft>
                <a:spcPts val="600"/>
              </a:spcAft>
              <a:buFont typeface="Wingdings" pitchFamily="2" charset="2"/>
              <a:buChar char="§"/>
            </a:pPr>
            <a:endParaRPr lang="de-DE" sz="1400" dirty="0" smtClean="0">
              <a:solidFill>
                <a:prstClr val="black"/>
              </a:solidFill>
            </a:endParaRPr>
          </a:p>
        </p:txBody>
      </p:sp>
      <p:sp>
        <p:nvSpPr>
          <p:cNvPr id="37" name="Rechteck 36"/>
          <p:cNvSpPr/>
          <p:nvPr>
            <p:custDataLst>
              <p:tags r:id="rId16"/>
            </p:custDataLst>
          </p:nvPr>
        </p:nvSpPr>
        <p:spPr>
          <a:xfrm>
            <a:off x="3419872" y="6531686"/>
            <a:ext cx="4997524" cy="320841"/>
          </a:xfrm>
          <a:prstGeom prst="rect">
            <a:avLst/>
          </a:prstGeom>
          <a:noFill/>
          <a:ln w="12700">
            <a:noFill/>
          </a:ln>
        </p:spPr>
        <p:txBody>
          <a:bodyPr wrap="square" lIns="107989" tIns="71992" rIns="107989" bIns="71992" rtlCol="0">
            <a:noAutofit/>
          </a:bodyPr>
          <a:lstStyle/>
          <a:p>
            <a:pPr marL="177782" indent="-177782">
              <a:spcAft>
                <a:spcPts val="600"/>
              </a:spcAft>
            </a:pPr>
            <a:r>
              <a:rPr lang="de-DE" sz="1000" dirty="0" smtClean="0">
                <a:solidFill>
                  <a:prstClr val="black"/>
                </a:solidFill>
              </a:rPr>
              <a:t>* excl. LCI </a:t>
            </a:r>
            <a:r>
              <a:rPr lang="de-DE" sz="1000" dirty="0" err="1" smtClean="0">
                <a:solidFill>
                  <a:prstClr val="black"/>
                </a:solidFill>
              </a:rPr>
              <a:t>and</a:t>
            </a:r>
            <a:r>
              <a:rPr lang="de-DE" sz="1000" dirty="0" smtClean="0">
                <a:solidFill>
                  <a:prstClr val="black"/>
                </a:solidFill>
              </a:rPr>
              <a:t> </a:t>
            </a:r>
            <a:r>
              <a:rPr lang="de-DE" sz="1000" dirty="0" err="1" smtClean="0">
                <a:solidFill>
                  <a:prstClr val="black"/>
                </a:solidFill>
              </a:rPr>
              <a:t>only</a:t>
            </a:r>
            <a:r>
              <a:rPr lang="de-DE" sz="1000" dirty="0" smtClean="0">
                <a:solidFill>
                  <a:prstClr val="black"/>
                </a:solidFill>
              </a:rPr>
              <a:t> </a:t>
            </a:r>
            <a:r>
              <a:rPr lang="de-DE" sz="1000" dirty="0" err="1" smtClean="0">
                <a:solidFill>
                  <a:prstClr val="black"/>
                </a:solidFill>
              </a:rPr>
              <a:t>vehicle</a:t>
            </a:r>
            <a:r>
              <a:rPr lang="de-DE" sz="1000" dirty="0" smtClean="0">
                <a:solidFill>
                  <a:prstClr val="black"/>
                </a:solidFill>
              </a:rPr>
              <a:t> </a:t>
            </a:r>
            <a:r>
              <a:rPr lang="de-DE" sz="1000" dirty="0" err="1" smtClean="0">
                <a:solidFill>
                  <a:prstClr val="black"/>
                </a:solidFill>
              </a:rPr>
              <a:t>projects</a:t>
            </a:r>
            <a:r>
              <a:rPr lang="de-DE" sz="1000" dirty="0" smtClean="0">
                <a:solidFill>
                  <a:prstClr val="black"/>
                </a:solidFill>
              </a:rPr>
              <a:t> </a:t>
            </a:r>
            <a:r>
              <a:rPr lang="de-DE" sz="1000" dirty="0" err="1" smtClean="0">
                <a:solidFill>
                  <a:prstClr val="black"/>
                </a:solidFill>
              </a:rPr>
              <a:t>whose</a:t>
            </a:r>
            <a:r>
              <a:rPr lang="de-DE" sz="1000" dirty="0" smtClean="0">
                <a:solidFill>
                  <a:prstClr val="black"/>
                </a:solidFill>
              </a:rPr>
              <a:t> </a:t>
            </a:r>
            <a:r>
              <a:rPr lang="de-DE" sz="1000" dirty="0" err="1" smtClean="0">
                <a:solidFill>
                  <a:prstClr val="black"/>
                </a:solidFill>
              </a:rPr>
              <a:t>maturity</a:t>
            </a:r>
            <a:r>
              <a:rPr lang="de-DE" sz="1000" dirty="0" smtClean="0">
                <a:solidFill>
                  <a:prstClr val="black"/>
                </a:solidFill>
              </a:rPr>
              <a:t> </a:t>
            </a:r>
            <a:r>
              <a:rPr lang="de-DE" sz="1000" dirty="0" err="1" smtClean="0">
                <a:solidFill>
                  <a:prstClr val="black"/>
                </a:solidFill>
              </a:rPr>
              <a:t>step</a:t>
            </a:r>
            <a:r>
              <a:rPr lang="de-DE" sz="1000" dirty="0" smtClean="0">
                <a:solidFill>
                  <a:prstClr val="black"/>
                </a:solidFill>
              </a:rPr>
              <a:t> </a:t>
            </a:r>
            <a:r>
              <a:rPr lang="de-DE" sz="1000" dirty="0" err="1" smtClean="0">
                <a:solidFill>
                  <a:prstClr val="black"/>
                </a:solidFill>
              </a:rPr>
              <a:t>is</a:t>
            </a:r>
            <a:r>
              <a:rPr lang="de-DE" sz="1000" dirty="0" smtClean="0">
                <a:solidFill>
                  <a:prstClr val="black"/>
                </a:solidFill>
              </a:rPr>
              <a:t> </a:t>
            </a:r>
            <a:r>
              <a:rPr lang="de-DE" sz="1000" dirty="0" err="1" smtClean="0">
                <a:solidFill>
                  <a:prstClr val="black"/>
                </a:solidFill>
              </a:rPr>
              <a:t>achievable</a:t>
            </a:r>
            <a:r>
              <a:rPr lang="de-DE" sz="1000" dirty="0" smtClean="0">
                <a:solidFill>
                  <a:prstClr val="black"/>
                </a:solidFill>
              </a:rPr>
              <a:t> (</a:t>
            </a:r>
            <a:r>
              <a:rPr lang="de-DE" sz="1000" dirty="0" err="1" smtClean="0">
                <a:solidFill>
                  <a:prstClr val="black"/>
                </a:solidFill>
              </a:rPr>
              <a:t>acc</a:t>
            </a:r>
            <a:r>
              <a:rPr lang="de-DE" sz="1000" dirty="0" smtClean="0">
                <a:solidFill>
                  <a:prstClr val="black"/>
                </a:solidFill>
              </a:rPr>
              <a:t>. </a:t>
            </a:r>
            <a:r>
              <a:rPr lang="de-DE" sz="1000" dirty="0" err="1" smtClean="0">
                <a:solidFill>
                  <a:prstClr val="black"/>
                </a:solidFill>
              </a:rPr>
              <a:t>to</a:t>
            </a:r>
            <a:r>
              <a:rPr lang="de-DE" sz="1000" dirty="0" smtClean="0">
                <a:solidFill>
                  <a:prstClr val="black"/>
                </a:solidFill>
              </a:rPr>
              <a:t> </a:t>
            </a:r>
            <a:r>
              <a:rPr lang="de-DE" sz="1000" dirty="0" err="1" smtClean="0">
                <a:solidFill>
                  <a:prstClr val="black"/>
                </a:solidFill>
              </a:rPr>
              <a:t>synchronisation</a:t>
            </a:r>
            <a:r>
              <a:rPr lang="de-DE" sz="1000" dirty="0" smtClean="0">
                <a:solidFill>
                  <a:prstClr val="black"/>
                </a:solidFill>
              </a:rPr>
              <a:t> plan)</a:t>
            </a:r>
          </a:p>
        </p:txBody>
      </p:sp>
      <p:pic>
        <p:nvPicPr>
          <p:cNvPr id="40" name="Picture 2" descr="https://wcm2.bmwgroup.net/rc_edit/rc/Entwicklung/imagepool/000_E-Themen/EMT_for_ONE/EMTforONE.gif"/>
          <p:cNvPicPr>
            <a:picLocks noChangeAspect="1" noChangeArrowheads="1"/>
          </p:cNvPicPr>
          <p:nvPr/>
        </p:nvPicPr>
        <p:blipFill>
          <a:blip r:embed="rId24" cstate="print"/>
          <a:srcRect/>
          <a:stretch>
            <a:fillRect/>
          </a:stretch>
        </p:blipFill>
        <p:spPr bwMode="auto">
          <a:xfrm>
            <a:off x="7966800" y="403225"/>
            <a:ext cx="720000" cy="720000"/>
          </a:xfrm>
          <a:prstGeom prst="rect">
            <a:avLst/>
          </a:prstGeom>
          <a:noFill/>
        </p:spPr>
      </p:pic>
      <p:sp>
        <p:nvSpPr>
          <p:cNvPr id="50" name="Fußzeilenplatzhalter 1"/>
          <p:cNvSpPr>
            <a:spLocks noGrp="1"/>
          </p:cNvSpPr>
          <p:nvPr>
            <p:ph type="ftr" sz="quarter" idx="3"/>
          </p:nvPr>
        </p:nvSpPr>
        <p:spPr>
          <a:xfrm>
            <a:off x="468312" y="6526213"/>
            <a:ext cx="3095575" cy="331787"/>
          </a:xfrm>
        </p:spPr>
        <p:txBody>
          <a:bodyPr/>
          <a:lstStyle/>
          <a:p>
            <a:pPr algn="l"/>
            <a:r>
              <a:rPr lang="de-DE" smtClean="0">
                <a:solidFill>
                  <a:prstClr val="black"/>
                </a:solidFill>
              </a:rPr>
              <a:t>Maturity Level Management Total Vehicle, Communication, Version 4.2</a:t>
            </a:r>
            <a:endParaRPr lang="de-DE" dirty="0">
              <a:solidFill>
                <a:prstClr val="black"/>
              </a:solidFill>
            </a:endParaRPr>
          </a:p>
        </p:txBody>
      </p:sp>
      <p:cxnSp>
        <p:nvCxnSpPr>
          <p:cNvPr id="88" name="Gerade Verbindung 87"/>
          <p:cNvCxnSpPr/>
          <p:nvPr>
            <p:custDataLst>
              <p:tags r:id="rId17"/>
            </p:custDataLst>
          </p:nvPr>
        </p:nvCxnSpPr>
        <p:spPr bwMode="gray">
          <a:xfrm>
            <a:off x="877887" y="1852426"/>
            <a:ext cx="285750" cy="0"/>
          </a:xfrm>
          <a:prstGeom prst="line">
            <a:avLst/>
          </a:prstGeom>
          <a:ln w="19050">
            <a:solidFill>
              <a:srgbClr val="FF0000"/>
            </a:solidFill>
            <a:prstDash val="solid"/>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89" name="Ellipse 88"/>
          <p:cNvSpPr/>
          <p:nvPr>
            <p:custDataLst>
              <p:tags r:id="rId18"/>
            </p:custDataLst>
          </p:nvPr>
        </p:nvSpPr>
        <p:spPr bwMode="auto">
          <a:xfrm>
            <a:off x="973137" y="1795041"/>
            <a:ext cx="95250" cy="95250"/>
          </a:xfrm>
          <a:prstGeom prst="ellipse">
            <a:avLst/>
          </a:prstGeom>
          <a:solidFill>
            <a:srgbClr val="FF0000"/>
          </a:solidFill>
          <a:ln w="952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7" name="Rechteck 86"/>
          <p:cNvSpPr/>
          <p:nvPr>
            <p:custDataLst>
              <p:tags r:id="rId19"/>
            </p:custDataLst>
          </p:nvPr>
        </p:nvSpPr>
        <p:spPr bwMode="auto">
          <a:xfrm>
            <a:off x="1214437" y="1772816"/>
            <a:ext cx="252412"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fld id="{96629C39-2379-43E0-A1EE-7B04623F07CA}" type="datetime'P''''''l''''''''''''''''''''an'''''''''">
              <a:rPr lang="en-US" sz="1000" smtClean="0">
                <a:solidFill>
                  <a:schemeClr val="tx1"/>
                </a:solidFill>
                <a:latin typeface="Arial"/>
                <a:sym typeface="Arial"/>
              </a:rPr>
              <a:pPr>
                <a:spcBef>
                  <a:spcPct val="0"/>
                </a:spcBef>
                <a:spcAft>
                  <a:spcPct val="0"/>
                </a:spcAft>
              </a:pPr>
              <a:t>Plan</a:t>
            </a:fld>
            <a:endParaRPr lang="de-DE" sz="1000" dirty="0">
              <a:solidFill>
                <a:schemeClr val="tx1"/>
              </a:solidFill>
              <a:latin typeface="Arial"/>
              <a:sym typeface="Arial"/>
            </a:endParaRPr>
          </a:p>
        </p:txBody>
      </p:sp>
      <p:cxnSp>
        <p:nvCxnSpPr>
          <p:cNvPr id="93" name="Straight Connector 45"/>
          <p:cNvCxnSpPr/>
          <p:nvPr/>
        </p:nvCxnSpPr>
        <p:spPr>
          <a:xfrm flipH="1" flipV="1">
            <a:off x="1043608" y="4149135"/>
            <a:ext cx="216000" cy="21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4" name="TextBox 47"/>
          <p:cNvSpPr txBox="1"/>
          <p:nvPr/>
        </p:nvSpPr>
        <p:spPr>
          <a:xfrm>
            <a:off x="1223628" y="4257092"/>
            <a:ext cx="1596964" cy="276989"/>
          </a:xfrm>
          <a:prstGeom prst="rect">
            <a:avLst/>
          </a:prstGeom>
          <a:noFill/>
        </p:spPr>
        <p:txBody>
          <a:bodyPr wrap="square" lIns="91431" tIns="45715" rIns="91431" bIns="45715" rtlCol="0">
            <a:spAutoFit/>
          </a:bodyPr>
          <a:lstStyle/>
          <a:p>
            <a:r>
              <a:rPr lang="en-US" sz="1200" dirty="0" smtClean="0"/>
              <a:t>Start Transfer-WS</a:t>
            </a:r>
          </a:p>
        </p:txBody>
      </p:sp>
      <p:sp>
        <p:nvSpPr>
          <p:cNvPr id="95" name="Ellipse 245"/>
          <p:cNvSpPr/>
          <p:nvPr/>
        </p:nvSpPr>
        <p:spPr bwMode="auto">
          <a:xfrm>
            <a:off x="971600" y="4077697"/>
            <a:ext cx="108000" cy="108000"/>
          </a:xfrm>
          <a:prstGeom prst="ellipse">
            <a:avLst/>
          </a:prstGeom>
          <a:solidFill>
            <a:schemeClr val="accent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91541" tIns="45770" rIns="91541" bIns="45770" rtlCol="0" anchor="ctr"/>
          <a:lstStyle/>
          <a:p>
            <a:pPr algn="ctr" defTabSz="915294"/>
            <a:endParaRPr lang="de-DE" dirty="0">
              <a:solidFill>
                <a:prstClr val="white"/>
              </a:solidFill>
            </a:endParaRPr>
          </a:p>
        </p:txBody>
      </p:sp>
      <p:sp>
        <p:nvSpPr>
          <p:cNvPr id="38" name="Textfeld 37"/>
          <p:cNvSpPr txBox="1"/>
          <p:nvPr>
            <p:custDataLst>
              <p:tags r:id="rId20"/>
            </p:custDataLst>
          </p:nvPr>
        </p:nvSpPr>
        <p:spPr>
          <a:xfrm>
            <a:off x="14712" y="14751"/>
            <a:ext cx="1368000" cy="288000"/>
          </a:xfrm>
          <a:prstGeom prst="rect">
            <a:avLst/>
          </a:prstGeom>
          <a:solidFill>
            <a:schemeClr val="accent2"/>
          </a:solidFill>
        </p:spPr>
        <p:txBody>
          <a:bodyPr wrap="none" lIns="0" tIns="0" rIns="0" bIns="0" rtlCol="0" anchor="ctr">
            <a:noAutofit/>
          </a:bodyPr>
          <a:lstStyle/>
          <a:p>
            <a:pPr algn="ctr" defTabSz="914197"/>
            <a:r>
              <a:rPr lang="de-DE" sz="1600" smtClean="0">
                <a:solidFill>
                  <a:prstClr val="black"/>
                </a:solidFill>
              </a:rPr>
              <a:t>Status: </a:t>
            </a:r>
            <a:r>
              <a:rPr lang="de-DE" sz="1600" dirty="0" smtClean="0">
                <a:solidFill>
                  <a:prstClr val="black"/>
                </a:solidFill>
              </a:rPr>
              <a:t>03/2014</a:t>
            </a:r>
          </a:p>
        </p:txBody>
      </p:sp>
      <p:sp>
        <p:nvSpPr>
          <p:cNvPr id="32" name="Foliennummernplatzhalter 27"/>
          <p:cNvSpPr txBox="1">
            <a:spLocks/>
          </p:cNvSpPr>
          <p:nvPr/>
        </p:nvSpPr>
        <p:spPr>
          <a:xfrm>
            <a:off x="6553200" y="6528871"/>
            <a:ext cx="2124075" cy="329130"/>
          </a:xfrm>
          <a:prstGeom prst="rect">
            <a:avLst/>
          </a:prstGeom>
        </p:spPr>
        <p:txBody>
          <a:bodyPr vert="horz"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chemeClr val="tx1"/>
                </a:solidFill>
                <a:effectLst/>
                <a:uLnTx/>
                <a:uFillTx/>
                <a:latin typeface="+mn-lt"/>
                <a:ea typeface="+mn-ea"/>
                <a:cs typeface="+mn-cs"/>
              </a:rPr>
              <a:t>Slide </a:t>
            </a:r>
            <a:fld id="{AA807A42-CF27-4B84-8583-18EBE418342E}" type="slidenum">
              <a:rPr kumimoji="0" lang="de-DE"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e-DE" sz="9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3"/>
          </p:nvPr>
        </p:nvSpPr>
        <p:spPr/>
        <p:txBody>
          <a:bodyPr/>
          <a:lstStyle/>
          <a:p>
            <a:r>
              <a:rPr lang="de-DE" smtClean="0"/>
              <a:t>Maturity level management stands for…</a:t>
            </a:r>
            <a:endParaRPr lang="de-DE" dirty="0" smtClean="0"/>
          </a:p>
        </p:txBody>
      </p:sp>
      <p:sp>
        <p:nvSpPr>
          <p:cNvPr id="4" name="Textplatzhalter 6"/>
          <p:cNvSpPr txBox="1">
            <a:spLocks/>
          </p:cNvSpPr>
          <p:nvPr/>
        </p:nvSpPr>
        <p:spPr>
          <a:xfrm>
            <a:off x="-108520" y="4005168"/>
            <a:ext cx="3420000" cy="432000"/>
          </a:xfrm>
          <a:prstGeom prst="rect">
            <a:avLst/>
          </a:prstGeom>
        </p:spPr>
        <p:txBody>
          <a:bodyPr lIns="0" tIns="0" rIns="0" bIns="0"/>
          <a:lstStyle/>
          <a:p>
            <a:pPr marL="0" marR="0" lvl="3" algn="r" defTabSz="914400" rtl="0" eaLnBrk="1" fontAlgn="auto" latinLnBrk="0" hangingPunct="1">
              <a:lnSpc>
                <a:spcPct val="100000"/>
              </a:lnSpc>
              <a:spcBef>
                <a:spcPts val="0"/>
              </a:spcBef>
              <a:spcAft>
                <a:spcPts val="1200"/>
              </a:spcAft>
              <a:buClrTx/>
              <a:buSzPct val="80000"/>
              <a:buFont typeface="Symbol" pitchFamily="18" charset="2"/>
              <a:buNone/>
              <a:tabLst/>
              <a:defRPr/>
            </a:pPr>
            <a:r>
              <a:rPr kumimoji="0" lang="de-DE" sz="2800" b="1" i="0" u="none" strike="noStrike" kern="1200" cap="none" spc="0" normalizeH="0" baseline="0" noProof="0" smtClean="0">
                <a:ln>
                  <a:noFill/>
                </a:ln>
                <a:solidFill>
                  <a:schemeClr val="bg2"/>
                </a:solidFill>
                <a:effectLst/>
                <a:uLnTx/>
                <a:uFillTx/>
                <a:latin typeface="+mn-lt"/>
                <a:ea typeface="BMW Type Global Pro Regular" pitchFamily="2" charset="0"/>
                <a:cs typeface="BMW Type Global Pro Regular" pitchFamily="2" charset="0"/>
              </a:rPr>
              <a:t>Clear responsibilities</a:t>
            </a:r>
            <a:endParaRPr kumimoji="0" lang="de-DE" sz="2800" b="1" i="0" u="none" strike="noStrike" kern="1200" cap="none" spc="0" normalizeH="0" baseline="0" noProof="0" dirty="0" smtClean="0">
              <a:ln>
                <a:noFill/>
              </a:ln>
              <a:solidFill>
                <a:schemeClr val="bg2"/>
              </a:solidFill>
              <a:effectLst/>
              <a:uLnTx/>
              <a:uFillTx/>
              <a:latin typeface="+mn-lt"/>
              <a:ea typeface="BMW Type Global Pro Regular" pitchFamily="2" charset="0"/>
              <a:cs typeface="BMW Type Global Pro Regular" pitchFamily="2" charset="0"/>
            </a:endParaRPr>
          </a:p>
        </p:txBody>
      </p:sp>
      <p:sp>
        <p:nvSpPr>
          <p:cNvPr id="5" name="Textplatzhalter 6"/>
          <p:cNvSpPr txBox="1">
            <a:spLocks/>
          </p:cNvSpPr>
          <p:nvPr/>
        </p:nvSpPr>
        <p:spPr>
          <a:xfrm>
            <a:off x="4896316" y="2456828"/>
            <a:ext cx="2844036" cy="504000"/>
          </a:xfrm>
          <a:prstGeom prst="rect">
            <a:avLst/>
          </a:prstGeom>
        </p:spPr>
        <p:txBody>
          <a:bodyPr lIns="0" tIns="0" rIns="0" bIns="0"/>
          <a:lstStyle/>
          <a:p>
            <a:pPr marL="0" marR="0" lvl="3" algn="l" defTabSz="914400" rtl="0" eaLnBrk="1" fontAlgn="auto" latinLnBrk="0" hangingPunct="1">
              <a:lnSpc>
                <a:spcPct val="100000"/>
              </a:lnSpc>
              <a:spcBef>
                <a:spcPts val="0"/>
              </a:spcBef>
              <a:spcAft>
                <a:spcPts val="1200"/>
              </a:spcAft>
              <a:buClrTx/>
              <a:buSzPct val="80000"/>
              <a:buFont typeface="Symbol" pitchFamily="18" charset="2"/>
              <a:buNone/>
              <a:tabLst/>
              <a:defRPr/>
            </a:pPr>
            <a:r>
              <a:rPr kumimoji="0" lang="de-DE" sz="3600" b="1" i="0" u="none" strike="noStrike" kern="1200" cap="none" spc="0" normalizeH="0" baseline="0" noProof="0" smtClean="0">
                <a:ln>
                  <a:noFill/>
                </a:ln>
                <a:solidFill>
                  <a:schemeClr val="tx2">
                    <a:lumMod val="60000"/>
                    <a:lumOff val="40000"/>
                  </a:schemeClr>
                </a:solidFill>
                <a:effectLst/>
                <a:uLnTx/>
                <a:uFillTx/>
                <a:latin typeface="+mn-lt"/>
                <a:ea typeface="BMW Type Global Pro Regular" pitchFamily="2" charset="0"/>
                <a:cs typeface="BMW Type Global Pro Regular" pitchFamily="2" charset="0"/>
              </a:rPr>
              <a:t>Target defaults</a:t>
            </a:r>
            <a:endParaRPr kumimoji="0" lang="de-DE" sz="3600" b="1" i="0" u="none" strike="noStrike" kern="1200" cap="none" spc="0" normalizeH="0" baseline="0" noProof="0" dirty="0" smtClean="0">
              <a:ln>
                <a:noFill/>
              </a:ln>
              <a:solidFill>
                <a:schemeClr val="tx2">
                  <a:lumMod val="60000"/>
                  <a:lumOff val="40000"/>
                </a:schemeClr>
              </a:solidFill>
              <a:effectLst/>
              <a:uLnTx/>
              <a:uFillTx/>
              <a:latin typeface="+mn-lt"/>
              <a:ea typeface="BMW Type Global Pro Regular" pitchFamily="2" charset="0"/>
              <a:cs typeface="BMW Type Global Pro Regular" pitchFamily="2" charset="0"/>
            </a:endParaRPr>
          </a:p>
        </p:txBody>
      </p:sp>
      <p:sp>
        <p:nvSpPr>
          <p:cNvPr id="7" name="Textplatzhalter 6"/>
          <p:cNvSpPr txBox="1">
            <a:spLocks/>
          </p:cNvSpPr>
          <p:nvPr/>
        </p:nvSpPr>
        <p:spPr>
          <a:xfrm>
            <a:off x="3096352" y="3609052"/>
            <a:ext cx="5076048" cy="288000"/>
          </a:xfrm>
          <a:prstGeom prst="rect">
            <a:avLst/>
          </a:prstGeom>
        </p:spPr>
        <p:txBody>
          <a:bodyPr lIns="0" tIns="0" rIns="0" bIns="0"/>
          <a:lstStyle/>
          <a:p>
            <a:pPr marL="0" marR="0" lvl="3" algn="l" defTabSz="914400" rtl="0" eaLnBrk="1" fontAlgn="auto" latinLnBrk="0" hangingPunct="1">
              <a:lnSpc>
                <a:spcPct val="100000"/>
              </a:lnSpc>
              <a:spcBef>
                <a:spcPts val="0"/>
              </a:spcBef>
              <a:spcAft>
                <a:spcPts val="1200"/>
              </a:spcAft>
              <a:buClrTx/>
              <a:buSzPct val="80000"/>
              <a:buFont typeface="Symbol" pitchFamily="18" charset="2"/>
              <a:buNone/>
              <a:tabLst/>
              <a:defRPr/>
            </a:pPr>
            <a:r>
              <a:rPr kumimoji="0" lang="de-DE" sz="2000" b="1" i="0" u="none" strike="noStrike" kern="1200" cap="none" spc="0" normalizeH="0" baseline="0" noProof="0" smtClean="0">
                <a:ln>
                  <a:noFill/>
                </a:ln>
                <a:solidFill>
                  <a:schemeClr val="tx2">
                    <a:lumMod val="60000"/>
                    <a:lumOff val="40000"/>
                  </a:schemeClr>
                </a:solidFill>
                <a:effectLst/>
                <a:uLnTx/>
                <a:uFillTx/>
                <a:latin typeface="+mn-lt"/>
                <a:ea typeface="BMW Type Global Pro Regular" pitchFamily="2" charset="0"/>
                <a:cs typeface="BMW Type Global Pro Regular" pitchFamily="2" charset="0"/>
              </a:rPr>
              <a:t>Quality-adapted maturity</a:t>
            </a:r>
            <a:r>
              <a:rPr kumimoji="0" lang="de-DE" sz="2000" b="1" i="0" u="none" strike="noStrike" kern="1200" cap="none" spc="0" normalizeH="0" noProof="0" smtClean="0">
                <a:ln>
                  <a:noFill/>
                </a:ln>
                <a:solidFill>
                  <a:schemeClr val="tx2">
                    <a:lumMod val="60000"/>
                    <a:lumOff val="40000"/>
                  </a:schemeClr>
                </a:solidFill>
                <a:effectLst/>
                <a:uLnTx/>
                <a:uFillTx/>
                <a:latin typeface="+mn-lt"/>
                <a:ea typeface="BMW Type Global Pro Regular" pitchFamily="2" charset="0"/>
                <a:cs typeface="BMW Type Global Pro Regular" pitchFamily="2" charset="0"/>
              </a:rPr>
              <a:t> of product and process</a:t>
            </a:r>
            <a:endParaRPr kumimoji="0" lang="de-DE" sz="2000" b="1" i="0" u="none" strike="noStrike" kern="1200" cap="none" spc="0" normalizeH="0" baseline="0" noProof="0" dirty="0" smtClean="0">
              <a:ln>
                <a:noFill/>
              </a:ln>
              <a:solidFill>
                <a:schemeClr val="tx2">
                  <a:lumMod val="60000"/>
                  <a:lumOff val="40000"/>
                </a:schemeClr>
              </a:solidFill>
              <a:effectLst/>
              <a:uLnTx/>
              <a:uFillTx/>
              <a:latin typeface="+mn-lt"/>
              <a:ea typeface="BMW Type Global Pro Regular" pitchFamily="2" charset="0"/>
              <a:cs typeface="BMW Type Global Pro Regular" pitchFamily="2" charset="0"/>
            </a:endParaRPr>
          </a:p>
        </p:txBody>
      </p:sp>
      <p:sp>
        <p:nvSpPr>
          <p:cNvPr id="8" name="Textplatzhalter 6"/>
          <p:cNvSpPr txBox="1">
            <a:spLocks/>
          </p:cNvSpPr>
          <p:nvPr/>
        </p:nvSpPr>
        <p:spPr>
          <a:xfrm>
            <a:off x="144016" y="1952836"/>
            <a:ext cx="5580112" cy="576000"/>
          </a:xfrm>
          <a:prstGeom prst="rect">
            <a:avLst/>
          </a:prstGeom>
        </p:spPr>
        <p:txBody>
          <a:bodyPr lIns="0" tIns="0" rIns="0" bIns="0"/>
          <a:lstStyle/>
          <a:p>
            <a:pPr marL="0" marR="0" lvl="3" algn="l" defTabSz="914400" rtl="0" eaLnBrk="1" fontAlgn="auto" latinLnBrk="0" hangingPunct="1">
              <a:lnSpc>
                <a:spcPct val="100000"/>
              </a:lnSpc>
              <a:spcBef>
                <a:spcPts val="0"/>
              </a:spcBef>
              <a:spcAft>
                <a:spcPts val="1200"/>
              </a:spcAft>
              <a:buClrTx/>
              <a:buSzPct val="80000"/>
              <a:buFont typeface="Symbol" pitchFamily="18" charset="2"/>
              <a:buNone/>
              <a:tabLst/>
              <a:defRPr/>
            </a:pPr>
            <a:r>
              <a:rPr lang="de-DE" sz="4000" b="1" smtClean="0">
                <a:solidFill>
                  <a:schemeClr val="bg2"/>
                </a:solidFill>
                <a:ea typeface="BMW Type Global Pro Regular" pitchFamily="2" charset="0"/>
                <a:cs typeface="BMW Type Global Pro Regular" pitchFamily="2" charset="0"/>
              </a:rPr>
              <a:t>Obvious</a:t>
            </a:r>
            <a:r>
              <a:rPr kumimoji="0" lang="de-DE" sz="4000" b="1" i="0" u="none" strike="noStrike" kern="1200" cap="none" spc="0" normalizeH="0" baseline="0" noProof="0" smtClean="0">
                <a:ln>
                  <a:noFill/>
                </a:ln>
                <a:solidFill>
                  <a:schemeClr val="bg2"/>
                </a:solidFill>
                <a:effectLst/>
                <a:uLnTx/>
                <a:uFillTx/>
                <a:latin typeface="+mn-lt"/>
                <a:ea typeface="BMW Type Global Pro Regular" pitchFamily="2" charset="0"/>
                <a:cs typeface="BMW Type Global Pro Regular" pitchFamily="2" charset="0"/>
              </a:rPr>
              <a:t> maturity progress</a:t>
            </a:r>
            <a:endParaRPr kumimoji="0" lang="de-DE" sz="4000" b="1" i="0" u="none" strike="noStrike" kern="1200" cap="none" spc="0" normalizeH="0" baseline="0" noProof="0" dirty="0" smtClean="0">
              <a:ln>
                <a:noFill/>
              </a:ln>
              <a:solidFill>
                <a:schemeClr val="bg2"/>
              </a:solidFill>
              <a:effectLst/>
              <a:uLnTx/>
              <a:uFillTx/>
              <a:latin typeface="+mn-lt"/>
              <a:ea typeface="BMW Type Global Pro Regular" pitchFamily="2" charset="0"/>
              <a:cs typeface="BMW Type Global Pro Regular" pitchFamily="2" charset="0"/>
            </a:endParaRPr>
          </a:p>
        </p:txBody>
      </p:sp>
      <p:sp>
        <p:nvSpPr>
          <p:cNvPr id="9" name="Textplatzhalter 6"/>
          <p:cNvSpPr txBox="1">
            <a:spLocks/>
          </p:cNvSpPr>
          <p:nvPr/>
        </p:nvSpPr>
        <p:spPr>
          <a:xfrm>
            <a:off x="2519772" y="2925016"/>
            <a:ext cx="6084000" cy="648000"/>
          </a:xfrm>
          <a:prstGeom prst="rect">
            <a:avLst/>
          </a:prstGeom>
        </p:spPr>
        <p:txBody>
          <a:bodyPr lIns="0" tIns="0" rIns="0" bIns="0"/>
          <a:lstStyle/>
          <a:p>
            <a:pPr marL="0" marR="0" lvl="3" algn="l" defTabSz="914400" rtl="0" eaLnBrk="1" fontAlgn="auto" latinLnBrk="0" hangingPunct="1">
              <a:lnSpc>
                <a:spcPct val="100000"/>
              </a:lnSpc>
              <a:spcBef>
                <a:spcPts val="0"/>
              </a:spcBef>
              <a:spcAft>
                <a:spcPts val="1200"/>
              </a:spcAft>
              <a:buClrTx/>
              <a:buSzPct val="80000"/>
              <a:buFont typeface="Symbol" pitchFamily="18" charset="2"/>
              <a:buNone/>
              <a:tabLst/>
              <a:defRPr/>
            </a:pPr>
            <a:r>
              <a:rPr lang="de-DE" sz="4400" b="1" smtClean="0">
                <a:solidFill>
                  <a:schemeClr val="bg2">
                    <a:lumMod val="75000"/>
                  </a:schemeClr>
                </a:solidFill>
                <a:ea typeface="BMW Type Global Pro Regular" pitchFamily="2" charset="0"/>
                <a:cs typeface="BMW Type Global Pro Regular" pitchFamily="2" charset="0"/>
              </a:rPr>
              <a:t>Consist</a:t>
            </a:r>
            <a:r>
              <a:rPr kumimoji="0" lang="de-DE" sz="4400" b="1" i="0" u="none" strike="noStrike" kern="1200" cap="none" spc="0" normalizeH="0" baseline="0" noProof="0" smtClean="0">
                <a:ln>
                  <a:noFill/>
                </a:ln>
                <a:solidFill>
                  <a:schemeClr val="bg2">
                    <a:lumMod val="75000"/>
                  </a:schemeClr>
                </a:solidFill>
                <a:effectLst/>
                <a:uLnTx/>
                <a:uFillTx/>
                <a:latin typeface="+mn-lt"/>
                <a:ea typeface="BMW Type Global Pro Regular" pitchFamily="2" charset="0"/>
                <a:cs typeface="BMW Type Global Pro Regular" pitchFamily="2" charset="0"/>
              </a:rPr>
              <a:t>ent</a:t>
            </a:r>
            <a:r>
              <a:rPr kumimoji="0" lang="de-DE" sz="4400" b="1" i="0" u="none" strike="noStrike" kern="1200" cap="none" spc="0" normalizeH="0" noProof="0" smtClean="0">
                <a:ln>
                  <a:noFill/>
                </a:ln>
                <a:solidFill>
                  <a:schemeClr val="bg2">
                    <a:lumMod val="75000"/>
                  </a:schemeClr>
                </a:solidFill>
                <a:effectLst/>
                <a:uLnTx/>
                <a:uFillTx/>
                <a:latin typeface="+mn-lt"/>
                <a:ea typeface="BMW Type Global Pro Regular" pitchFamily="2" charset="0"/>
                <a:cs typeface="BMW Type Global Pro Regular" pitchFamily="2" charset="0"/>
              </a:rPr>
              <a:t> EMT criteria</a:t>
            </a:r>
            <a:endParaRPr kumimoji="0" lang="de-DE" sz="4400" b="1" i="0" u="none" strike="noStrike" kern="1200" cap="none" spc="0" normalizeH="0" baseline="0" noProof="0" dirty="0" smtClean="0">
              <a:ln>
                <a:noFill/>
              </a:ln>
              <a:solidFill>
                <a:schemeClr val="bg2">
                  <a:lumMod val="75000"/>
                </a:schemeClr>
              </a:solidFill>
              <a:effectLst/>
              <a:uLnTx/>
              <a:uFillTx/>
              <a:latin typeface="+mn-lt"/>
              <a:ea typeface="BMW Type Global Pro Regular" pitchFamily="2" charset="0"/>
              <a:cs typeface="BMW Type Global Pro Regular" pitchFamily="2" charset="0"/>
            </a:endParaRPr>
          </a:p>
        </p:txBody>
      </p:sp>
      <p:sp>
        <p:nvSpPr>
          <p:cNvPr id="10" name="Textplatzhalter 6"/>
          <p:cNvSpPr txBox="1">
            <a:spLocks/>
          </p:cNvSpPr>
          <p:nvPr/>
        </p:nvSpPr>
        <p:spPr>
          <a:xfrm>
            <a:off x="459686" y="3465004"/>
            <a:ext cx="2636665" cy="576000"/>
          </a:xfrm>
          <a:prstGeom prst="rect">
            <a:avLst/>
          </a:prstGeom>
        </p:spPr>
        <p:txBody>
          <a:bodyPr lIns="0" tIns="0" rIns="0" bIns="0"/>
          <a:lstStyle/>
          <a:p>
            <a:pPr marL="0" marR="0" lvl="3" algn="l" defTabSz="914400" rtl="0" eaLnBrk="1" fontAlgn="auto" latinLnBrk="0" hangingPunct="1">
              <a:lnSpc>
                <a:spcPct val="100000"/>
              </a:lnSpc>
              <a:spcBef>
                <a:spcPts val="0"/>
              </a:spcBef>
              <a:spcAft>
                <a:spcPts val="1200"/>
              </a:spcAft>
              <a:buClrTx/>
              <a:buSzPct val="80000"/>
              <a:buFont typeface="Symbol" pitchFamily="18" charset="2"/>
              <a:buNone/>
              <a:tabLst/>
              <a:defRPr/>
            </a:pPr>
            <a:r>
              <a:rPr kumimoji="0" lang="de-DE" sz="3600" b="1" i="0" u="none" strike="noStrike" kern="1200" cap="none" spc="0" normalizeH="0" baseline="0" noProof="0" smtClean="0">
                <a:ln>
                  <a:noFill/>
                </a:ln>
                <a:solidFill>
                  <a:schemeClr val="tx2"/>
                </a:solidFill>
                <a:effectLst/>
                <a:uLnTx/>
                <a:uFillTx/>
                <a:latin typeface="+mn-lt"/>
                <a:ea typeface="BMW Type Global Pro Regular" pitchFamily="2" charset="0"/>
                <a:cs typeface="BMW Type Global Pro Regular" pitchFamily="2" charset="0"/>
              </a:rPr>
              <a:t>Early warning</a:t>
            </a:r>
            <a:endParaRPr kumimoji="0" lang="de-DE" sz="3600" b="1" i="0" u="none" strike="noStrike" kern="1200" cap="none" spc="0" normalizeH="0" baseline="0" noProof="0" dirty="0" smtClean="0">
              <a:ln>
                <a:noFill/>
              </a:ln>
              <a:solidFill>
                <a:schemeClr val="tx2"/>
              </a:solidFill>
              <a:effectLst/>
              <a:uLnTx/>
              <a:uFillTx/>
              <a:latin typeface="+mn-lt"/>
              <a:ea typeface="BMW Type Global Pro Regular" pitchFamily="2" charset="0"/>
              <a:cs typeface="BMW Type Global Pro Regular" pitchFamily="2" charset="0"/>
            </a:endParaRPr>
          </a:p>
        </p:txBody>
      </p:sp>
      <p:sp>
        <p:nvSpPr>
          <p:cNvPr id="11" name="Textplatzhalter 6"/>
          <p:cNvSpPr txBox="1">
            <a:spLocks/>
          </p:cNvSpPr>
          <p:nvPr/>
        </p:nvSpPr>
        <p:spPr>
          <a:xfrm>
            <a:off x="468313" y="2564828"/>
            <a:ext cx="4140000" cy="288000"/>
          </a:xfrm>
          <a:prstGeom prst="rect">
            <a:avLst/>
          </a:prstGeom>
        </p:spPr>
        <p:txBody>
          <a:bodyPr lIns="0" tIns="0" rIns="0" bIns="0"/>
          <a:lstStyle/>
          <a:p>
            <a:pPr marL="0" lvl="3" algn="r">
              <a:spcAft>
                <a:spcPts val="1200"/>
              </a:spcAft>
              <a:buSzPct val="80000"/>
              <a:defRPr/>
            </a:pPr>
            <a:r>
              <a:rPr lang="en-US" sz="2000" b="1" smtClean="0">
                <a:solidFill>
                  <a:schemeClr val="tx2"/>
                </a:solidFill>
                <a:ea typeface="BMW Type Global Pro Regular" pitchFamily="2" charset="0"/>
                <a:cs typeface="BMW Type Global Pro Regular" pitchFamily="2" charset="0"/>
              </a:rPr>
              <a:t>Binding maturity level-target-planning</a:t>
            </a:r>
            <a:endParaRPr kumimoji="0" lang="de-DE" sz="2000" b="1" i="0" u="none" strike="noStrike" kern="1200" cap="none" spc="0" normalizeH="0" baseline="0" noProof="0" dirty="0" smtClean="0">
              <a:ln>
                <a:noFill/>
              </a:ln>
              <a:solidFill>
                <a:schemeClr val="tx2"/>
              </a:solidFill>
              <a:effectLst/>
              <a:uLnTx/>
              <a:uFillTx/>
              <a:latin typeface="+mn-lt"/>
              <a:ea typeface="BMW Type Global Pro Regular" pitchFamily="2" charset="0"/>
              <a:cs typeface="BMW Type Global Pro Regular" pitchFamily="2" charset="0"/>
            </a:endParaRPr>
          </a:p>
        </p:txBody>
      </p:sp>
      <p:sp>
        <p:nvSpPr>
          <p:cNvPr id="12" name="Textplatzhalter 6"/>
          <p:cNvSpPr txBox="1">
            <a:spLocks/>
          </p:cNvSpPr>
          <p:nvPr/>
        </p:nvSpPr>
        <p:spPr>
          <a:xfrm>
            <a:off x="323528" y="3068960"/>
            <a:ext cx="2088032" cy="432000"/>
          </a:xfrm>
          <a:prstGeom prst="rect">
            <a:avLst/>
          </a:prstGeom>
        </p:spPr>
        <p:txBody>
          <a:bodyPr lIns="0" tIns="0" rIns="0" bIns="0"/>
          <a:lstStyle/>
          <a:p>
            <a:pPr marL="0" marR="0" lvl="3" algn="l" defTabSz="914400" rtl="0" eaLnBrk="1" fontAlgn="auto" latinLnBrk="0" hangingPunct="1">
              <a:lnSpc>
                <a:spcPct val="100000"/>
              </a:lnSpc>
              <a:spcBef>
                <a:spcPts val="0"/>
              </a:spcBef>
              <a:spcAft>
                <a:spcPts val="1200"/>
              </a:spcAft>
              <a:buClrTx/>
              <a:buSzPct val="80000"/>
              <a:buFont typeface="Symbol" pitchFamily="18" charset="2"/>
              <a:buNone/>
              <a:tabLst/>
              <a:defRPr/>
            </a:pPr>
            <a:r>
              <a:rPr kumimoji="0" lang="de-DE" sz="2800" b="1" i="0" u="none" strike="noStrike" kern="1200" cap="none" spc="0" normalizeH="0" baseline="0" noProof="0" smtClean="0">
                <a:ln>
                  <a:noFill/>
                </a:ln>
                <a:solidFill>
                  <a:schemeClr val="tx2">
                    <a:lumMod val="60000"/>
                    <a:lumOff val="40000"/>
                  </a:schemeClr>
                </a:solidFill>
                <a:effectLst/>
                <a:uLnTx/>
                <a:uFillTx/>
                <a:latin typeface="+mn-lt"/>
                <a:ea typeface="BMW Type Global Pro Regular" pitchFamily="2" charset="0"/>
                <a:cs typeface="BMW Type Global Pro Regular" pitchFamily="2" charset="0"/>
              </a:rPr>
              <a:t>Transparency</a:t>
            </a:r>
            <a:endParaRPr kumimoji="0" lang="de-DE" sz="2800" b="1" i="0" u="none" strike="noStrike" kern="1200" cap="none" spc="0" normalizeH="0" baseline="0" noProof="0" dirty="0" smtClean="0">
              <a:ln>
                <a:noFill/>
              </a:ln>
              <a:solidFill>
                <a:schemeClr val="tx2">
                  <a:lumMod val="60000"/>
                  <a:lumOff val="40000"/>
                </a:schemeClr>
              </a:solidFill>
              <a:effectLst/>
              <a:uLnTx/>
              <a:uFillTx/>
              <a:latin typeface="+mn-lt"/>
              <a:ea typeface="BMW Type Global Pro Regular" pitchFamily="2" charset="0"/>
              <a:cs typeface="BMW Type Global Pro Regular" pitchFamily="2" charset="0"/>
            </a:endParaRPr>
          </a:p>
        </p:txBody>
      </p:sp>
      <p:sp>
        <p:nvSpPr>
          <p:cNvPr id="13" name="Textplatzhalter 6"/>
          <p:cNvSpPr txBox="1">
            <a:spLocks/>
          </p:cNvSpPr>
          <p:nvPr/>
        </p:nvSpPr>
        <p:spPr>
          <a:xfrm>
            <a:off x="971600" y="4437160"/>
            <a:ext cx="3671856" cy="432000"/>
          </a:xfrm>
          <a:prstGeom prst="rect">
            <a:avLst/>
          </a:prstGeom>
        </p:spPr>
        <p:txBody>
          <a:bodyPr lIns="0" tIns="0" rIns="0" bIns="0"/>
          <a:lstStyle/>
          <a:p>
            <a:pPr marL="0" marR="0" lvl="3" algn="l" defTabSz="914400" rtl="0" eaLnBrk="1" fontAlgn="auto" latinLnBrk="0" hangingPunct="1">
              <a:lnSpc>
                <a:spcPct val="100000"/>
              </a:lnSpc>
              <a:spcBef>
                <a:spcPts val="0"/>
              </a:spcBef>
              <a:spcAft>
                <a:spcPts val="1200"/>
              </a:spcAft>
              <a:buClrTx/>
              <a:buSzPct val="80000"/>
              <a:buFont typeface="Symbol" pitchFamily="18" charset="2"/>
              <a:buNone/>
              <a:tabLst/>
              <a:defRPr/>
            </a:pPr>
            <a:r>
              <a:rPr kumimoji="0" lang="de-DE" sz="3600" b="1" i="0" u="none" strike="noStrike" kern="1200" cap="none" spc="0" normalizeH="0" baseline="0" noProof="0" smtClean="0">
                <a:ln>
                  <a:noFill/>
                </a:ln>
                <a:solidFill>
                  <a:schemeClr val="tx2">
                    <a:lumMod val="60000"/>
                    <a:lumOff val="40000"/>
                  </a:schemeClr>
                </a:solidFill>
                <a:effectLst/>
                <a:uLnTx/>
                <a:uFillTx/>
                <a:latin typeface="+mn-lt"/>
                <a:ea typeface="BMW Type Global Pro Regular" pitchFamily="2" charset="0"/>
                <a:cs typeface="BMW Type Global Pro Regular" pitchFamily="2" charset="0"/>
              </a:rPr>
              <a:t>Improved inputs</a:t>
            </a:r>
            <a:endParaRPr kumimoji="0" lang="de-DE" sz="3600" b="1" i="0" u="none" strike="noStrike" kern="1200" cap="none" spc="0" normalizeH="0" baseline="0" noProof="0" dirty="0" smtClean="0">
              <a:ln>
                <a:noFill/>
              </a:ln>
              <a:solidFill>
                <a:schemeClr val="tx2">
                  <a:lumMod val="60000"/>
                  <a:lumOff val="40000"/>
                </a:schemeClr>
              </a:solidFill>
              <a:effectLst/>
              <a:uLnTx/>
              <a:uFillTx/>
              <a:latin typeface="+mn-lt"/>
              <a:ea typeface="BMW Type Global Pro Regular" pitchFamily="2" charset="0"/>
              <a:cs typeface="BMW Type Global Pro Regular" pitchFamily="2" charset="0"/>
            </a:endParaRPr>
          </a:p>
        </p:txBody>
      </p:sp>
      <p:sp>
        <p:nvSpPr>
          <p:cNvPr id="14" name="Textplatzhalter 6"/>
          <p:cNvSpPr txBox="1">
            <a:spLocks/>
          </p:cNvSpPr>
          <p:nvPr/>
        </p:nvSpPr>
        <p:spPr>
          <a:xfrm>
            <a:off x="3563887" y="3933168"/>
            <a:ext cx="5580113" cy="576000"/>
          </a:xfrm>
          <a:prstGeom prst="rect">
            <a:avLst/>
          </a:prstGeom>
        </p:spPr>
        <p:txBody>
          <a:bodyPr lIns="0" tIns="0" rIns="0" bIns="0"/>
          <a:lstStyle/>
          <a:p>
            <a:pPr marL="0" marR="0" lvl="3" algn="l" defTabSz="914400" rtl="0" eaLnBrk="1" fontAlgn="auto" latinLnBrk="0" hangingPunct="1">
              <a:lnSpc>
                <a:spcPct val="100000"/>
              </a:lnSpc>
              <a:spcBef>
                <a:spcPts val="0"/>
              </a:spcBef>
              <a:spcAft>
                <a:spcPts val="1200"/>
              </a:spcAft>
              <a:buClrTx/>
              <a:buSzPct val="80000"/>
              <a:buFont typeface="Symbol" pitchFamily="18" charset="2"/>
              <a:buNone/>
              <a:tabLst/>
              <a:defRPr/>
            </a:pPr>
            <a:r>
              <a:rPr kumimoji="0" lang="de-DE" sz="3000" b="1" i="0" u="none" strike="noStrike" kern="1200" cap="none" spc="0" normalizeH="0" baseline="0" noProof="0" smtClean="0">
                <a:ln>
                  <a:noFill/>
                </a:ln>
                <a:solidFill>
                  <a:schemeClr val="bg2">
                    <a:lumMod val="75000"/>
                  </a:schemeClr>
                </a:solidFill>
                <a:effectLst/>
                <a:uLnTx/>
                <a:uFillTx/>
                <a:latin typeface="+mn-lt"/>
                <a:ea typeface="BMW Type Global Pro Regular" pitchFamily="2" charset="0"/>
                <a:cs typeface="BMW Type Global Pro Regular" pitchFamily="2" charset="0"/>
              </a:rPr>
              <a:t>Understanding of</a:t>
            </a:r>
            <a:r>
              <a:rPr kumimoji="0" lang="de-DE" sz="3000" b="1" i="0" u="none" strike="noStrike" kern="1200" cap="none" spc="0" normalizeH="0" noProof="0" smtClean="0">
                <a:ln>
                  <a:noFill/>
                </a:ln>
                <a:solidFill>
                  <a:schemeClr val="bg2">
                    <a:lumMod val="75000"/>
                  </a:schemeClr>
                </a:solidFill>
                <a:effectLst/>
                <a:uLnTx/>
                <a:uFillTx/>
                <a:latin typeface="+mn-lt"/>
                <a:ea typeface="BMW Type Global Pro Regular" pitchFamily="2" charset="0"/>
                <a:cs typeface="BMW Type Global Pro Regular" pitchFamily="2" charset="0"/>
              </a:rPr>
              <a:t> </a:t>
            </a:r>
            <a:r>
              <a:rPr kumimoji="0" lang="de-DE" sz="3000" b="1" i="0" u="none" strike="noStrike" kern="1200" cap="none" spc="0" normalizeH="0" baseline="0" noProof="0" smtClean="0">
                <a:ln>
                  <a:noFill/>
                </a:ln>
                <a:solidFill>
                  <a:schemeClr val="bg2">
                    <a:lumMod val="75000"/>
                  </a:schemeClr>
                </a:solidFill>
                <a:effectLst/>
                <a:uLnTx/>
                <a:uFillTx/>
                <a:latin typeface="+mn-lt"/>
                <a:ea typeface="BMW Type Global Pro Regular" pitchFamily="2" charset="0"/>
                <a:cs typeface="BMW Type Global Pro Regular" pitchFamily="2" charset="0"/>
              </a:rPr>
              <a:t>functional</a:t>
            </a:r>
            <a:r>
              <a:rPr kumimoji="0" lang="de-DE" sz="3000" b="1" i="0" u="none" strike="noStrike" kern="1200" cap="none" spc="0" normalizeH="0" noProof="0" smtClean="0">
                <a:ln>
                  <a:noFill/>
                </a:ln>
                <a:solidFill>
                  <a:schemeClr val="bg2">
                    <a:lumMod val="75000"/>
                  </a:schemeClr>
                </a:solidFill>
                <a:effectLst/>
                <a:uLnTx/>
                <a:uFillTx/>
                <a:latin typeface="+mn-lt"/>
                <a:ea typeface="BMW Type Global Pro Regular" pitchFamily="2" charset="0"/>
                <a:cs typeface="BMW Type Global Pro Regular" pitchFamily="2" charset="0"/>
              </a:rPr>
              <a:t> chains</a:t>
            </a:r>
            <a:endParaRPr kumimoji="0" lang="de-DE" sz="3000" b="1" i="0" u="none" strike="noStrike" kern="1200" cap="none" spc="0" normalizeH="0" baseline="0" noProof="0" dirty="0" smtClean="0">
              <a:ln>
                <a:noFill/>
              </a:ln>
              <a:solidFill>
                <a:schemeClr val="bg2">
                  <a:lumMod val="75000"/>
                </a:schemeClr>
              </a:solidFill>
              <a:effectLst/>
              <a:uLnTx/>
              <a:uFillTx/>
              <a:latin typeface="+mn-lt"/>
              <a:ea typeface="BMW Type Global Pro Regular" pitchFamily="2" charset="0"/>
              <a:cs typeface="BMW Type Global Pro Regular" pitchFamily="2" charset="0"/>
            </a:endParaRPr>
          </a:p>
        </p:txBody>
      </p:sp>
      <p:sp>
        <p:nvSpPr>
          <p:cNvPr id="16" name="Fußzeilenplatzhalter 15"/>
          <p:cNvSpPr>
            <a:spLocks noGrp="1"/>
          </p:cNvSpPr>
          <p:nvPr>
            <p:ph type="ftr" sz="quarter" idx="10"/>
          </p:nvPr>
        </p:nvSpPr>
        <p:spPr>
          <a:xfrm>
            <a:off x="468312" y="6526213"/>
            <a:ext cx="4103688" cy="331787"/>
          </a:xfrm>
        </p:spPr>
        <p:txBody>
          <a:bodyPr/>
          <a:lstStyle/>
          <a:p>
            <a:pPr algn="l"/>
            <a:r>
              <a:rPr lang="de-DE" smtClean="0">
                <a:solidFill>
                  <a:prstClr val="black"/>
                </a:solidFill>
              </a:rPr>
              <a:t>Maturity Level Management Total Vehicle, Communication, Version 4.2</a:t>
            </a:r>
            <a:endParaRPr lang="de-DE" dirty="0">
              <a:solidFill>
                <a:prstClr val="black"/>
              </a:solidFill>
            </a:endParaRPr>
          </a:p>
        </p:txBody>
      </p:sp>
      <p:sp>
        <p:nvSpPr>
          <p:cNvPr id="17" name="Textfeld 16"/>
          <p:cNvSpPr txBox="1"/>
          <p:nvPr/>
        </p:nvSpPr>
        <p:spPr>
          <a:xfrm>
            <a:off x="5436096" y="4581128"/>
            <a:ext cx="3003643" cy="288000"/>
          </a:xfrm>
          <a:prstGeom prst="rect">
            <a:avLst/>
          </a:prstGeom>
          <a:noFill/>
        </p:spPr>
        <p:txBody>
          <a:bodyPr wrap="none" lIns="0" tIns="0" rIns="0" bIns="0" rtlCol="0">
            <a:noAutofit/>
          </a:bodyPr>
          <a:lstStyle/>
          <a:p>
            <a:pPr marL="0" lvl="3" algn="r">
              <a:spcAft>
                <a:spcPts val="1200"/>
              </a:spcAft>
              <a:buSzPct val="80000"/>
              <a:defRPr/>
            </a:pPr>
            <a:r>
              <a:rPr lang="de-DE" sz="2000" b="1" smtClean="0">
                <a:solidFill>
                  <a:schemeClr val="bg2"/>
                </a:solidFill>
                <a:ea typeface="BMW Type Global Pro Regular" pitchFamily="2" charset="0"/>
                <a:cs typeface="BMW Type Global Pro Regular" pitchFamily="2" charset="0"/>
              </a:rPr>
              <a:t>Less</a:t>
            </a:r>
            <a:r>
              <a:rPr lang="de-DE" b="1" smtClean="0">
                <a:solidFill>
                  <a:schemeClr val="bg2"/>
                </a:solidFill>
                <a:ea typeface="BMW Type Global Pro Regular" pitchFamily="2" charset="0"/>
                <a:cs typeface="BMW Type Global Pro Regular" pitchFamily="2" charset="0"/>
              </a:rPr>
              <a:t> PLTs and Task </a:t>
            </a:r>
            <a:r>
              <a:rPr lang="de-DE" b="1" dirty="0" err="1" smtClean="0">
                <a:solidFill>
                  <a:schemeClr val="bg2"/>
                </a:solidFill>
                <a:ea typeface="BMW Type Global Pro Regular" pitchFamily="2" charset="0"/>
                <a:cs typeface="BMW Type Global Pro Regular" pitchFamily="2" charset="0"/>
              </a:rPr>
              <a:t>Forces</a:t>
            </a:r>
            <a:endParaRPr lang="de-DE" b="1" dirty="0">
              <a:solidFill>
                <a:schemeClr val="bg2"/>
              </a:solidFill>
              <a:ea typeface="BMW Type Global Pro Regular" pitchFamily="2" charset="0"/>
              <a:cs typeface="BMW Type Global Pro Regular" pitchFamily="2" charset="0"/>
            </a:endParaRPr>
          </a:p>
        </p:txBody>
      </p:sp>
      <p:sp>
        <p:nvSpPr>
          <p:cNvPr id="18" name="Textplatzhalter 6"/>
          <p:cNvSpPr txBox="1">
            <a:spLocks/>
          </p:cNvSpPr>
          <p:nvPr/>
        </p:nvSpPr>
        <p:spPr>
          <a:xfrm>
            <a:off x="468314" y="5000625"/>
            <a:ext cx="8135458" cy="576000"/>
          </a:xfrm>
          <a:prstGeom prst="rect">
            <a:avLst/>
          </a:prstGeom>
        </p:spPr>
        <p:txBody>
          <a:bodyPr lIns="0" tIns="0" rIns="0" bIns="0"/>
          <a:lstStyle/>
          <a:p>
            <a:pPr marL="0" lvl="3" algn="ctr">
              <a:spcAft>
                <a:spcPts val="1200"/>
              </a:spcAft>
              <a:buSzPct val="80000"/>
              <a:defRPr/>
            </a:pPr>
            <a:r>
              <a:rPr lang="de-DE" sz="2800" b="1" smtClean="0">
                <a:solidFill>
                  <a:schemeClr val="tx2"/>
                </a:solidFill>
                <a:ea typeface="BMW Type Global Pro Regular" pitchFamily="2" charset="0"/>
                <a:cs typeface="BMW Type Global Pro Regular" pitchFamily="2" charset="0"/>
              </a:rPr>
              <a:t>Integration of EMT features and components</a:t>
            </a:r>
            <a:endParaRPr lang="de-DE" sz="2800" b="1" dirty="0" smtClean="0">
              <a:solidFill>
                <a:schemeClr val="tx2"/>
              </a:solidFill>
              <a:ea typeface="BMW Type Global Pro Regular" pitchFamily="2" charset="0"/>
              <a:cs typeface="BMW Type Global Pro Regular" pitchFamily="2" charset="0"/>
            </a:endParaRPr>
          </a:p>
        </p:txBody>
      </p:sp>
      <p:sp>
        <p:nvSpPr>
          <p:cNvPr id="19" name="Textplatzhalter 6"/>
          <p:cNvSpPr txBox="1">
            <a:spLocks/>
          </p:cNvSpPr>
          <p:nvPr/>
        </p:nvSpPr>
        <p:spPr>
          <a:xfrm>
            <a:off x="5498673" y="2221778"/>
            <a:ext cx="3537823" cy="432000"/>
          </a:xfrm>
          <a:prstGeom prst="rect">
            <a:avLst/>
          </a:prstGeom>
        </p:spPr>
        <p:txBody>
          <a:bodyPr lIns="0" tIns="0" rIns="0" bIns="0"/>
          <a:lstStyle/>
          <a:p>
            <a:pPr marL="0" marR="0" lvl="3" algn="ctr" defTabSz="914400" rtl="0" eaLnBrk="1" fontAlgn="auto" latinLnBrk="0" hangingPunct="1">
              <a:lnSpc>
                <a:spcPct val="100000"/>
              </a:lnSpc>
              <a:spcBef>
                <a:spcPts val="0"/>
              </a:spcBef>
              <a:spcAft>
                <a:spcPts val="1200"/>
              </a:spcAft>
              <a:buClrTx/>
              <a:buSzPct val="80000"/>
              <a:buFont typeface="Symbol" pitchFamily="18" charset="2"/>
              <a:buNone/>
              <a:tabLst/>
              <a:defRPr/>
            </a:pPr>
            <a:r>
              <a:rPr lang="de-DE" sz="2000" b="1" smtClean="0">
                <a:solidFill>
                  <a:schemeClr val="tx2">
                    <a:lumMod val="60000"/>
                    <a:lumOff val="40000"/>
                  </a:schemeClr>
                </a:solidFill>
                <a:ea typeface="BMW Type Global Pro Regular" pitchFamily="2" charset="0"/>
                <a:cs typeface="BMW Type Global Pro Regular" pitchFamily="2" charset="0"/>
              </a:rPr>
              <a:t>Enabling – not just measuring</a:t>
            </a:r>
            <a:endParaRPr kumimoji="0" lang="de-DE" sz="2000" b="1" i="0" u="none" strike="noStrike" kern="1200" cap="none" spc="0" normalizeH="0" baseline="0" noProof="0" dirty="0" smtClean="0">
              <a:ln>
                <a:noFill/>
              </a:ln>
              <a:solidFill>
                <a:schemeClr val="tx2">
                  <a:lumMod val="60000"/>
                  <a:lumOff val="40000"/>
                </a:schemeClr>
              </a:solidFill>
              <a:effectLst/>
              <a:uLnTx/>
              <a:uFillTx/>
              <a:latin typeface="+mn-lt"/>
              <a:ea typeface="BMW Type Global Pro Regular" pitchFamily="2" charset="0"/>
              <a:cs typeface="BMW Type Global Pro Regular" pitchFamily="2" charset="0"/>
            </a:endParaRPr>
          </a:p>
        </p:txBody>
      </p:sp>
      <p:sp>
        <p:nvSpPr>
          <p:cNvPr id="20" name="Textplatzhalter 6"/>
          <p:cNvSpPr txBox="1">
            <a:spLocks/>
          </p:cNvSpPr>
          <p:nvPr/>
        </p:nvSpPr>
        <p:spPr>
          <a:xfrm>
            <a:off x="3314700" y="5416350"/>
            <a:ext cx="3439114" cy="432000"/>
          </a:xfrm>
          <a:prstGeom prst="rect">
            <a:avLst/>
          </a:prstGeom>
        </p:spPr>
        <p:txBody>
          <a:bodyPr lIns="0" tIns="0" rIns="0" bIns="0"/>
          <a:lstStyle/>
          <a:p>
            <a:pPr marL="0" lvl="3">
              <a:spcAft>
                <a:spcPts val="1200"/>
              </a:spcAft>
              <a:buSzPct val="80000"/>
              <a:defRPr/>
            </a:pPr>
            <a:r>
              <a:rPr lang="de-DE" sz="3200" b="1" dirty="0" smtClean="0">
                <a:solidFill>
                  <a:schemeClr val="bg2"/>
                </a:solidFill>
                <a:ea typeface="BMW Type Global Pro Regular" pitchFamily="2" charset="0"/>
                <a:cs typeface="BMW Type Global Pro Regular" pitchFamily="2" charset="0"/>
              </a:rPr>
              <a:t>Synchronisation</a:t>
            </a:r>
          </a:p>
        </p:txBody>
      </p:sp>
      <p:sp>
        <p:nvSpPr>
          <p:cNvPr id="21" name="Foliennummernplatzhalter 27"/>
          <p:cNvSpPr txBox="1">
            <a:spLocks/>
          </p:cNvSpPr>
          <p:nvPr/>
        </p:nvSpPr>
        <p:spPr>
          <a:xfrm>
            <a:off x="6553200" y="6528871"/>
            <a:ext cx="2124075" cy="329130"/>
          </a:xfrm>
          <a:prstGeom prst="rect">
            <a:avLst/>
          </a:prstGeom>
        </p:spPr>
        <p:txBody>
          <a:bodyPr vert="horz"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chemeClr val="tx1"/>
                </a:solidFill>
                <a:effectLst/>
                <a:uLnTx/>
                <a:uFillTx/>
                <a:latin typeface="+mn-lt"/>
                <a:ea typeface="+mn-ea"/>
                <a:cs typeface="+mn-cs"/>
              </a:rPr>
              <a:t>Slide </a:t>
            </a:r>
            <a:fld id="{AA807A42-CF27-4B84-8583-18EBE418342E}" type="slidenum">
              <a:rPr kumimoji="0" lang="de-DE"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9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p:nvGraphicFramePr>
        <p:xfrm>
          <a:off x="1587" y="1588"/>
          <a:ext cx="1587" cy="1587"/>
        </p:xfrm>
        <a:graphic>
          <a:graphicData uri="http://schemas.openxmlformats.org/presentationml/2006/ole">
            <p:oleObj spid="_x0000_s102402" name="think-cell Folie" r:id="rId3" imgW="270" imgH="270" progId="TCLayout.ActiveDocument.1">
              <p:embed/>
            </p:oleObj>
          </a:graphicData>
        </a:graphic>
      </p:graphicFrame>
      <p:sp>
        <p:nvSpPr>
          <p:cNvPr id="18" name="Textplatzhalter 6"/>
          <p:cNvSpPr txBox="1">
            <a:spLocks/>
          </p:cNvSpPr>
          <p:nvPr/>
        </p:nvSpPr>
        <p:spPr>
          <a:xfrm>
            <a:off x="468312" y="5013176"/>
            <a:ext cx="3960000" cy="971976"/>
          </a:xfrm>
          <a:prstGeom prst="rect">
            <a:avLst/>
          </a:prstGeom>
          <a:solidFill>
            <a:schemeClr val="bg2">
              <a:lumMod val="20000"/>
              <a:lumOff val="80000"/>
            </a:schemeClr>
          </a:solidFill>
          <a:ln w="6350">
            <a:solidFill>
              <a:schemeClr val="bg2"/>
            </a:solidFill>
          </a:ln>
          <a:effectLst>
            <a:outerShdw blurRad="50800" dist="38100" dir="2700000" algn="tl" rotWithShape="0">
              <a:prstClr val="black">
                <a:alpha val="40000"/>
              </a:prstClr>
            </a:outerShdw>
          </a:effectLst>
        </p:spPr>
        <p:txBody>
          <a:bodyPr lIns="72000" tIns="72000" rIns="72000" bIns="72000"/>
          <a:lstStyle/>
          <a:p>
            <a:r>
              <a:rPr lang="de-DE" sz="1400" smtClean="0"/>
              <a:t>„It is positive that the RGM project team is aware of the complexity and implications of the RGM topic. This is why I totally approve a step-by-step  proceeding in roll-out.“</a:t>
            </a:r>
            <a:endParaRPr lang="de-DE" sz="1400" dirty="0"/>
          </a:p>
        </p:txBody>
      </p:sp>
      <p:sp>
        <p:nvSpPr>
          <p:cNvPr id="13" name="Textplatzhalter 6"/>
          <p:cNvSpPr txBox="1">
            <a:spLocks/>
          </p:cNvSpPr>
          <p:nvPr/>
        </p:nvSpPr>
        <p:spPr>
          <a:xfrm>
            <a:off x="467544" y="1700808"/>
            <a:ext cx="3960000" cy="936104"/>
          </a:xfrm>
          <a:prstGeom prst="rect">
            <a:avLst/>
          </a:prstGeom>
          <a:solidFill>
            <a:schemeClr val="bg2">
              <a:lumMod val="20000"/>
              <a:lumOff val="80000"/>
            </a:schemeClr>
          </a:solidFill>
          <a:ln w="6350">
            <a:solidFill>
              <a:schemeClr val="bg2"/>
            </a:solidFill>
          </a:ln>
          <a:effectLst>
            <a:outerShdw blurRad="50800" dist="38100" dir="2700000" algn="tl" rotWithShape="0">
              <a:prstClr val="black">
                <a:alpha val="40000"/>
              </a:prstClr>
            </a:outerShdw>
          </a:effectLst>
        </p:spPr>
        <p:txBody>
          <a:bodyPr lIns="72000" tIns="72000" rIns="72000" bIns="72000"/>
          <a:lstStyle/>
          <a:p>
            <a:pPr marL="0" lvl="3">
              <a:spcAft>
                <a:spcPts val="1200"/>
              </a:spcAft>
              <a:buSzPct val="80000"/>
              <a:defRPr/>
            </a:pPr>
            <a:r>
              <a:rPr lang="de-DE" sz="1400" smtClean="0">
                <a:ea typeface="BMW Type Global Pro Regular" pitchFamily="2" charset="0"/>
                <a:cs typeface="BMW Type Global Pro Regular" pitchFamily="2" charset="0"/>
              </a:rPr>
              <a:t>„Maturity Level Management helps to improve the maturity and qualitity of products significantly, starting from the strategic preliminary clarification to the DOC.“</a:t>
            </a:r>
            <a:endParaRPr kumimoji="0" lang="de-DE" sz="1400" b="0" i="0" u="none" strike="noStrike" kern="1200" cap="none" spc="0" normalizeH="0" baseline="0" noProof="0" dirty="0" smtClean="0">
              <a:ln>
                <a:noFill/>
              </a:ln>
              <a:solidFill>
                <a:schemeClr val="tx1"/>
              </a:solidFill>
              <a:effectLst/>
              <a:uLnTx/>
              <a:uFillTx/>
              <a:latin typeface="+mn-lt"/>
              <a:ea typeface="BMW Type Global Pro Regular" pitchFamily="2" charset="0"/>
              <a:cs typeface="BMW Type Global Pro Regular" pitchFamily="2" charset="0"/>
            </a:endParaRPr>
          </a:p>
        </p:txBody>
      </p:sp>
      <p:sp>
        <p:nvSpPr>
          <p:cNvPr id="2" name="Fußzeilenplatzhalter 1"/>
          <p:cNvSpPr>
            <a:spLocks noGrp="1"/>
          </p:cNvSpPr>
          <p:nvPr>
            <p:ph type="ftr" sz="quarter" idx="10"/>
          </p:nvPr>
        </p:nvSpPr>
        <p:spPr>
          <a:xfrm>
            <a:off x="468312" y="6526213"/>
            <a:ext cx="4103687" cy="331787"/>
          </a:xfrm>
        </p:spPr>
        <p:txBody>
          <a:bodyPr/>
          <a:lstStyle/>
          <a:p>
            <a:pPr algn="l"/>
            <a:r>
              <a:rPr lang="de-DE" smtClean="0">
                <a:solidFill>
                  <a:prstClr val="black"/>
                </a:solidFill>
              </a:rPr>
              <a:t>Maturity Level Management Total Vehicle, Communication, Version 4.2</a:t>
            </a:r>
            <a:endParaRPr lang="de-DE" dirty="0">
              <a:solidFill>
                <a:prstClr val="black"/>
              </a:solidFill>
            </a:endParaRPr>
          </a:p>
        </p:txBody>
      </p:sp>
      <p:sp>
        <p:nvSpPr>
          <p:cNvPr id="4" name="Textplatzhalter 3"/>
          <p:cNvSpPr>
            <a:spLocks noGrp="1"/>
          </p:cNvSpPr>
          <p:nvPr>
            <p:ph type="body" sz="quarter" idx="13"/>
          </p:nvPr>
        </p:nvSpPr>
        <p:spPr>
          <a:xfrm>
            <a:off x="459687" y="403225"/>
            <a:ext cx="7640705" cy="960437"/>
          </a:xfrm>
        </p:spPr>
        <p:txBody>
          <a:bodyPr/>
          <a:lstStyle/>
          <a:p>
            <a:r>
              <a:rPr lang="de-DE" smtClean="0"/>
              <a:t>Despite of first success there are still several challenges. </a:t>
            </a:r>
          </a:p>
          <a:p>
            <a:r>
              <a:rPr lang="de-DE" sz="2000" smtClean="0">
                <a:solidFill>
                  <a:schemeClr val="tx1"/>
                </a:solidFill>
              </a:rPr>
              <a:t>Management‘s direct quotes relating to RGM</a:t>
            </a:r>
            <a:r>
              <a:rPr lang="de-DE" sz="2000" dirty="0" smtClean="0">
                <a:solidFill>
                  <a:schemeClr val="tx1"/>
                </a:solidFill>
              </a:rPr>
              <a:t>.</a:t>
            </a:r>
          </a:p>
          <a:p>
            <a:endParaRPr lang="de-DE" dirty="0" smtClean="0"/>
          </a:p>
          <a:p>
            <a:endParaRPr lang="de-DE" dirty="0"/>
          </a:p>
        </p:txBody>
      </p:sp>
      <p:sp>
        <p:nvSpPr>
          <p:cNvPr id="7" name="Textplatzhalter 6"/>
          <p:cNvSpPr txBox="1">
            <a:spLocks/>
          </p:cNvSpPr>
          <p:nvPr/>
        </p:nvSpPr>
        <p:spPr>
          <a:xfrm>
            <a:off x="467544" y="2780261"/>
            <a:ext cx="3960000" cy="757418"/>
          </a:xfrm>
          <a:prstGeom prst="rect">
            <a:avLst/>
          </a:prstGeom>
          <a:solidFill>
            <a:schemeClr val="bg2">
              <a:lumMod val="20000"/>
              <a:lumOff val="80000"/>
            </a:schemeClr>
          </a:solidFill>
          <a:ln w="6350">
            <a:solidFill>
              <a:schemeClr val="bg2"/>
            </a:solidFill>
          </a:ln>
          <a:effectLst>
            <a:outerShdw blurRad="50800" dist="38100" dir="2700000" algn="tl" rotWithShape="0">
              <a:prstClr val="black">
                <a:alpha val="40000"/>
              </a:prstClr>
            </a:outerShdw>
          </a:effectLst>
        </p:spPr>
        <p:txBody>
          <a:bodyPr lIns="72000" tIns="72000" rIns="72000" bIns="72000"/>
          <a:lstStyle/>
          <a:p>
            <a:pPr marL="0" lvl="3">
              <a:spcAft>
                <a:spcPts val="1200"/>
              </a:spcAft>
              <a:buSzPct val="80000"/>
              <a:defRPr/>
            </a:pPr>
            <a:r>
              <a:rPr lang="de-DE" sz="1400" smtClean="0">
                <a:ea typeface="BMW Type Global Pro Regular" pitchFamily="2" charset="0"/>
                <a:cs typeface="BMW Type Global Pro Regular" pitchFamily="2" charset="0"/>
              </a:rPr>
              <a:t>„An additional outcome is a distinct increase of maturity concerning the painted car body.“</a:t>
            </a:r>
            <a:endParaRPr kumimoji="0" lang="de-DE" sz="1400" b="0" i="0" u="none" strike="noStrike" kern="1200" cap="none" spc="0" normalizeH="0" baseline="0" noProof="0" dirty="0" smtClean="0">
              <a:ln>
                <a:noFill/>
              </a:ln>
              <a:solidFill>
                <a:schemeClr val="tx1"/>
              </a:solidFill>
              <a:effectLst/>
              <a:uLnTx/>
              <a:uFillTx/>
              <a:latin typeface="+mn-lt"/>
              <a:ea typeface="BMW Type Global Pro Regular" pitchFamily="2" charset="0"/>
              <a:cs typeface="BMW Type Global Pro Regular" pitchFamily="2" charset="0"/>
            </a:endParaRPr>
          </a:p>
        </p:txBody>
      </p:sp>
      <p:sp>
        <p:nvSpPr>
          <p:cNvPr id="8" name="Textplatzhalter 6"/>
          <p:cNvSpPr txBox="1">
            <a:spLocks/>
          </p:cNvSpPr>
          <p:nvPr/>
        </p:nvSpPr>
        <p:spPr>
          <a:xfrm>
            <a:off x="4716456" y="1700808"/>
            <a:ext cx="3960000" cy="792000"/>
          </a:xfrm>
          <a:prstGeom prst="rect">
            <a:avLst/>
          </a:prstGeom>
          <a:solidFill>
            <a:schemeClr val="bg2">
              <a:lumMod val="20000"/>
              <a:lumOff val="80000"/>
            </a:schemeClr>
          </a:solidFill>
          <a:ln w="6350">
            <a:solidFill>
              <a:schemeClr val="bg2"/>
            </a:solidFill>
          </a:ln>
          <a:effectLst>
            <a:outerShdw blurRad="50800" dist="38100" dir="2700000" algn="tl" rotWithShape="0">
              <a:prstClr val="black">
                <a:alpha val="40000"/>
              </a:prstClr>
            </a:outerShdw>
          </a:effectLst>
        </p:spPr>
        <p:txBody>
          <a:bodyPr lIns="72000" tIns="72000" rIns="72000" bIns="72000"/>
          <a:lstStyle/>
          <a:p>
            <a:pPr marL="0" lvl="3">
              <a:spcAft>
                <a:spcPts val="1200"/>
              </a:spcAft>
              <a:buSzPct val="80000"/>
              <a:defRPr/>
            </a:pPr>
            <a:r>
              <a:rPr lang="de-DE" sz="1400" smtClean="0">
                <a:ea typeface="BMW Type Global Pro Regular" pitchFamily="2" charset="0"/>
                <a:cs typeface="BMW Type Global Pro Regular" pitchFamily="2" charset="0"/>
              </a:rPr>
              <a:t>„The further focus of ProGF lies on the implementation of a permanent EMT Maturity Level Management for all vehicle projects.“</a:t>
            </a:r>
            <a:endParaRPr lang="de-DE" sz="1400" dirty="0" smtClean="0">
              <a:ea typeface="BMW Type Global Pro Regular" pitchFamily="2" charset="0"/>
              <a:cs typeface="BMW Type Global Pro Regular" pitchFamily="2" charset="0"/>
            </a:endParaRPr>
          </a:p>
        </p:txBody>
      </p:sp>
      <p:sp>
        <p:nvSpPr>
          <p:cNvPr id="10" name="Textplatzhalter 6"/>
          <p:cNvSpPr txBox="1">
            <a:spLocks/>
          </p:cNvSpPr>
          <p:nvPr/>
        </p:nvSpPr>
        <p:spPr>
          <a:xfrm>
            <a:off x="4716456" y="5229200"/>
            <a:ext cx="3960000" cy="792000"/>
          </a:xfrm>
          <a:prstGeom prst="rect">
            <a:avLst/>
          </a:prstGeom>
          <a:solidFill>
            <a:schemeClr val="bg2">
              <a:lumMod val="20000"/>
              <a:lumOff val="80000"/>
            </a:schemeClr>
          </a:solidFill>
          <a:ln w="6350">
            <a:solidFill>
              <a:schemeClr val="bg2"/>
            </a:solidFill>
          </a:ln>
          <a:effectLst>
            <a:outerShdw blurRad="50800" dist="38100" dir="2700000" algn="tl" rotWithShape="0">
              <a:prstClr val="black">
                <a:alpha val="40000"/>
              </a:prstClr>
            </a:outerShdw>
          </a:effectLst>
        </p:spPr>
        <p:txBody>
          <a:bodyPr lIns="72000" tIns="72000" rIns="72000" bIns="72000"/>
          <a:lstStyle/>
          <a:p>
            <a:r>
              <a:rPr lang="de-DE" sz="1400" smtClean="0"/>
              <a:t>„Just two suppliers with maturity agreements had quitted. But we were successful in retracting them…“</a:t>
            </a:r>
            <a:endParaRPr lang="de-DE" sz="1400" dirty="0" smtClean="0"/>
          </a:p>
        </p:txBody>
      </p:sp>
      <p:sp>
        <p:nvSpPr>
          <p:cNvPr id="14" name="Textplatzhalter 6"/>
          <p:cNvSpPr txBox="1">
            <a:spLocks/>
          </p:cNvSpPr>
          <p:nvPr/>
        </p:nvSpPr>
        <p:spPr>
          <a:xfrm>
            <a:off x="467544" y="3645044"/>
            <a:ext cx="3960000" cy="936000"/>
          </a:xfrm>
          <a:prstGeom prst="rect">
            <a:avLst/>
          </a:prstGeom>
          <a:solidFill>
            <a:schemeClr val="bg2">
              <a:lumMod val="20000"/>
              <a:lumOff val="80000"/>
            </a:schemeClr>
          </a:solidFill>
          <a:ln w="6350">
            <a:solidFill>
              <a:schemeClr val="bg2"/>
            </a:solidFill>
          </a:ln>
          <a:effectLst>
            <a:outerShdw blurRad="50800" dist="38100" dir="2700000" algn="tl" rotWithShape="0">
              <a:prstClr val="black">
                <a:alpha val="40000"/>
              </a:prstClr>
            </a:outerShdw>
          </a:effectLst>
        </p:spPr>
        <p:txBody>
          <a:bodyPr lIns="72000" tIns="72000" rIns="72000" bIns="72000"/>
          <a:lstStyle/>
          <a:p>
            <a:pPr marL="0" lvl="3">
              <a:spcAft>
                <a:spcPts val="1200"/>
              </a:spcAft>
              <a:buSzPct val="80000"/>
              <a:defRPr/>
            </a:pPr>
            <a:r>
              <a:rPr lang="de-DE" sz="1400" dirty="0" smtClean="0">
                <a:ea typeface="BMW Type Global Pro Regular" pitchFamily="2" charset="0"/>
                <a:cs typeface="BMW Type Global Pro Regular" pitchFamily="2" charset="0"/>
              </a:rPr>
              <a:t>„EMT </a:t>
            </a:r>
            <a:r>
              <a:rPr lang="de-DE" sz="1400" dirty="0" err="1" smtClean="0">
                <a:ea typeface="BMW Type Global Pro Regular" pitchFamily="2" charset="0"/>
                <a:cs typeface="BMW Type Global Pro Regular" pitchFamily="2" charset="0"/>
              </a:rPr>
              <a:t>Maturity</a:t>
            </a:r>
            <a:r>
              <a:rPr lang="de-DE" sz="1400" dirty="0" smtClean="0">
                <a:ea typeface="BMW Type Global Pro Regular" pitchFamily="2" charset="0"/>
                <a:cs typeface="BMW Type Global Pro Regular" pitchFamily="2" charset="0"/>
              </a:rPr>
              <a:t> Level Management </a:t>
            </a:r>
            <a:r>
              <a:rPr lang="de-DE" sz="1400" dirty="0" err="1" smtClean="0">
                <a:ea typeface="BMW Type Global Pro Regular" pitchFamily="2" charset="0"/>
                <a:cs typeface="BMW Type Global Pro Regular" pitchFamily="2" charset="0"/>
              </a:rPr>
              <a:t>gives</a:t>
            </a:r>
            <a:r>
              <a:rPr lang="de-DE" sz="1400" dirty="0" smtClean="0">
                <a:ea typeface="BMW Type Global Pro Regular" pitchFamily="2" charset="0"/>
                <a:cs typeface="BMW Type Global Pro Regular" pitchFamily="2" charset="0"/>
              </a:rPr>
              <a:t> a </a:t>
            </a:r>
            <a:r>
              <a:rPr lang="de-DE" sz="1400" dirty="0" err="1" smtClean="0">
                <a:ea typeface="BMW Type Global Pro Regular" pitchFamily="2" charset="0"/>
                <a:cs typeface="BMW Type Global Pro Regular" pitchFamily="2" charset="0"/>
              </a:rPr>
              <a:t>good</a:t>
            </a:r>
            <a:r>
              <a:rPr lang="de-DE" sz="1400" dirty="0" smtClean="0">
                <a:ea typeface="BMW Type Global Pro Regular" pitchFamily="2" charset="0"/>
                <a:cs typeface="BMW Type Global Pro Regular" pitchFamily="2" charset="0"/>
              </a:rPr>
              <a:t> </a:t>
            </a:r>
            <a:r>
              <a:rPr lang="de-DE" sz="1400" dirty="0" err="1" smtClean="0">
                <a:ea typeface="BMW Type Global Pro Regular" pitchFamily="2" charset="0"/>
                <a:cs typeface="BMW Type Global Pro Regular" pitchFamily="2" charset="0"/>
              </a:rPr>
              <a:t>overview</a:t>
            </a:r>
            <a:r>
              <a:rPr lang="de-DE" sz="1400" dirty="0" smtClean="0">
                <a:ea typeface="BMW Type Global Pro Regular" pitchFamily="2" charset="0"/>
                <a:cs typeface="BMW Type Global Pro Regular" pitchFamily="2" charset="0"/>
              </a:rPr>
              <a:t> on </a:t>
            </a:r>
            <a:r>
              <a:rPr lang="de-DE" sz="1400" dirty="0" err="1" smtClean="0">
                <a:ea typeface="BMW Type Global Pro Regular" pitchFamily="2" charset="0"/>
                <a:cs typeface="BMW Type Global Pro Regular" pitchFamily="2" charset="0"/>
              </a:rPr>
              <a:t>topics</a:t>
            </a:r>
            <a:r>
              <a:rPr lang="de-DE" sz="1400" dirty="0" smtClean="0">
                <a:ea typeface="BMW Type Global Pro Regular" pitchFamily="2" charset="0"/>
                <a:cs typeface="BMW Type Global Pro Regular" pitchFamily="2" charset="0"/>
              </a:rPr>
              <a:t> </a:t>
            </a:r>
            <a:r>
              <a:rPr lang="de-DE" sz="1400" dirty="0" err="1" smtClean="0">
                <a:ea typeface="BMW Type Global Pro Regular" pitchFamily="2" charset="0"/>
                <a:cs typeface="BMW Type Global Pro Regular" pitchFamily="2" charset="0"/>
              </a:rPr>
              <a:t>and</a:t>
            </a:r>
            <a:r>
              <a:rPr lang="de-DE" sz="1400" dirty="0" smtClean="0">
                <a:ea typeface="BMW Type Global Pro Regular" pitchFamily="2" charset="0"/>
                <a:cs typeface="BMW Type Global Pro Regular" pitchFamily="2" charset="0"/>
              </a:rPr>
              <a:t> </a:t>
            </a:r>
            <a:r>
              <a:rPr lang="de-DE" sz="1400" dirty="0" err="1" smtClean="0">
                <a:ea typeface="BMW Type Global Pro Regular" pitchFamily="2" charset="0"/>
                <a:cs typeface="BMW Type Global Pro Regular" pitchFamily="2" charset="0"/>
              </a:rPr>
              <a:t>their</a:t>
            </a:r>
            <a:r>
              <a:rPr lang="de-DE" sz="1400" dirty="0" smtClean="0">
                <a:ea typeface="BMW Type Global Pro Regular" pitchFamily="2" charset="0"/>
                <a:cs typeface="BMW Type Global Pro Regular" pitchFamily="2" charset="0"/>
              </a:rPr>
              <a:t> </a:t>
            </a:r>
            <a:r>
              <a:rPr lang="de-DE" sz="1400" dirty="0" err="1" smtClean="0">
                <a:ea typeface="BMW Type Global Pro Regular" pitchFamily="2" charset="0"/>
                <a:cs typeface="BMW Type Global Pro Regular" pitchFamily="2" charset="0"/>
              </a:rPr>
              <a:t>cross-linkages</a:t>
            </a:r>
            <a:r>
              <a:rPr lang="de-DE" sz="1400" dirty="0" smtClean="0">
                <a:ea typeface="BMW Type Global Pro Regular" pitchFamily="2" charset="0"/>
                <a:cs typeface="BMW Type Global Pro Regular" pitchFamily="2" charset="0"/>
              </a:rPr>
              <a:t> </a:t>
            </a:r>
            <a:r>
              <a:rPr lang="de-DE" sz="1400" dirty="0" err="1" smtClean="0">
                <a:ea typeface="BMW Type Global Pro Regular" pitchFamily="2" charset="0"/>
                <a:cs typeface="BMW Type Global Pro Regular" pitchFamily="2" charset="0"/>
              </a:rPr>
              <a:t>and</a:t>
            </a:r>
            <a:r>
              <a:rPr lang="de-DE" sz="1400" dirty="0" smtClean="0">
                <a:ea typeface="BMW Type Global Pro Regular" pitchFamily="2" charset="0"/>
                <a:cs typeface="BMW Type Global Pro Regular" pitchFamily="2" charset="0"/>
              </a:rPr>
              <a:t> </a:t>
            </a:r>
            <a:r>
              <a:rPr lang="de-DE" sz="1400" dirty="0" err="1" smtClean="0">
                <a:ea typeface="BMW Type Global Pro Regular" pitchFamily="2" charset="0"/>
                <a:cs typeface="BMW Type Global Pro Regular" pitchFamily="2" charset="0"/>
              </a:rPr>
              <a:t>helps</a:t>
            </a:r>
            <a:r>
              <a:rPr lang="de-DE" sz="1400" dirty="0" smtClean="0">
                <a:ea typeface="BMW Type Global Pro Regular" pitchFamily="2" charset="0"/>
                <a:cs typeface="BMW Type Global Pro Regular" pitchFamily="2" charset="0"/>
              </a:rPr>
              <a:t> </a:t>
            </a:r>
            <a:r>
              <a:rPr lang="de-DE" sz="1400" dirty="0" err="1" smtClean="0">
                <a:ea typeface="BMW Type Global Pro Regular" pitchFamily="2" charset="0"/>
                <a:cs typeface="BMW Type Global Pro Regular" pitchFamily="2" charset="0"/>
              </a:rPr>
              <a:t>to</a:t>
            </a:r>
            <a:r>
              <a:rPr lang="de-DE" sz="1400" dirty="0" smtClean="0">
                <a:ea typeface="BMW Type Global Pro Regular" pitchFamily="2" charset="0"/>
                <a:cs typeface="BMW Type Global Pro Regular" pitchFamily="2" charset="0"/>
              </a:rPr>
              <a:t> bring </a:t>
            </a:r>
            <a:r>
              <a:rPr lang="de-DE" sz="1400" dirty="0" err="1" smtClean="0">
                <a:ea typeface="BMW Type Global Pro Regular" pitchFamily="2" charset="0"/>
                <a:cs typeface="BMW Type Global Pro Regular" pitchFamily="2" charset="0"/>
              </a:rPr>
              <a:t>together</a:t>
            </a:r>
            <a:r>
              <a:rPr lang="de-DE" sz="1400" dirty="0" smtClean="0">
                <a:ea typeface="BMW Type Global Pro Regular" pitchFamily="2" charset="0"/>
                <a:cs typeface="BMW Type Global Pro Regular" pitchFamily="2" charset="0"/>
              </a:rPr>
              <a:t> all relevant </a:t>
            </a:r>
            <a:r>
              <a:rPr lang="de-DE" sz="1400" dirty="0" err="1" smtClean="0">
                <a:ea typeface="BMW Type Global Pro Regular" pitchFamily="2" charset="0"/>
                <a:cs typeface="BMW Type Global Pro Regular" pitchFamily="2" charset="0"/>
              </a:rPr>
              <a:t>contact</a:t>
            </a:r>
            <a:r>
              <a:rPr lang="de-DE" sz="1400" dirty="0" smtClean="0">
                <a:ea typeface="BMW Type Global Pro Regular" pitchFamily="2" charset="0"/>
                <a:cs typeface="BMW Type Global Pro Regular" pitchFamily="2" charset="0"/>
              </a:rPr>
              <a:t> </a:t>
            </a:r>
            <a:r>
              <a:rPr lang="de-DE" sz="1400" dirty="0" err="1" smtClean="0">
                <a:ea typeface="BMW Type Global Pro Regular" pitchFamily="2" charset="0"/>
                <a:cs typeface="BMW Type Global Pro Regular" pitchFamily="2" charset="0"/>
              </a:rPr>
              <a:t>persons</a:t>
            </a:r>
            <a:r>
              <a:rPr lang="de-DE" sz="1400" dirty="0" smtClean="0">
                <a:ea typeface="BMW Type Global Pro Regular" pitchFamily="2" charset="0"/>
                <a:cs typeface="BMW Type Global Pro Regular" pitchFamily="2" charset="0"/>
              </a:rPr>
              <a:t>.“</a:t>
            </a:r>
          </a:p>
          <a:p>
            <a:pPr marL="0" lvl="3">
              <a:spcAft>
                <a:spcPts val="1200"/>
              </a:spcAft>
              <a:buSzPct val="80000"/>
              <a:defRPr/>
            </a:pPr>
            <a:endParaRPr lang="de-DE" sz="1400" dirty="0" smtClean="0">
              <a:ea typeface="BMW Type Global Pro Regular" pitchFamily="2" charset="0"/>
              <a:cs typeface="BMW Type Global Pro Regular" pitchFamily="2" charset="0"/>
            </a:endParaRPr>
          </a:p>
          <a:p>
            <a:pPr marL="0" lvl="3">
              <a:spcAft>
                <a:spcPts val="1200"/>
              </a:spcAft>
              <a:buSzPct val="80000"/>
              <a:defRPr/>
            </a:pPr>
            <a:endParaRPr kumimoji="0" lang="de-DE" sz="1400" b="0" i="0" u="none" strike="noStrike" kern="1200" cap="none" spc="0" normalizeH="0" baseline="0" noProof="0" dirty="0" smtClean="0">
              <a:ln>
                <a:noFill/>
              </a:ln>
              <a:solidFill>
                <a:schemeClr val="tx1"/>
              </a:solidFill>
              <a:effectLst/>
              <a:uLnTx/>
              <a:uFillTx/>
              <a:latin typeface="+mn-lt"/>
              <a:ea typeface="BMW Type Global Pro Regular" pitchFamily="2" charset="0"/>
              <a:cs typeface="BMW Type Global Pro Regular" pitchFamily="2" charset="0"/>
            </a:endParaRPr>
          </a:p>
        </p:txBody>
      </p:sp>
      <p:sp>
        <p:nvSpPr>
          <p:cNvPr id="15" name="Textfeld 14"/>
          <p:cNvSpPr txBox="1"/>
          <p:nvPr/>
        </p:nvSpPr>
        <p:spPr>
          <a:xfrm>
            <a:off x="2699792" y="5733256"/>
            <a:ext cx="1728192" cy="252116"/>
          </a:xfrm>
          <a:prstGeom prst="rect">
            <a:avLst/>
          </a:prstGeom>
          <a:noFill/>
        </p:spPr>
        <p:txBody>
          <a:bodyPr wrap="none" lIns="72000" tIns="72000" rIns="72000" bIns="72000" rtlCol="0" anchor="b">
            <a:noAutofit/>
          </a:bodyPr>
          <a:lstStyle/>
          <a:p>
            <a:pPr algn="r"/>
            <a:r>
              <a:rPr lang="de-DE" sz="800" b="1" dirty="0" smtClean="0"/>
              <a:t>Head </a:t>
            </a:r>
            <a:r>
              <a:rPr lang="de-DE" sz="800" b="1" dirty="0" err="1" smtClean="0"/>
              <a:t>of</a:t>
            </a:r>
            <a:r>
              <a:rPr lang="de-DE" sz="800" b="1" dirty="0" smtClean="0"/>
              <a:t> </a:t>
            </a:r>
            <a:r>
              <a:rPr lang="de-DE" sz="800" b="1" dirty="0" err="1" smtClean="0"/>
              <a:t>CoC</a:t>
            </a:r>
            <a:r>
              <a:rPr lang="de-DE" sz="800" b="1" dirty="0" smtClean="0"/>
              <a:t> Ex-</a:t>
            </a:r>
            <a:r>
              <a:rPr lang="de-DE" sz="800" b="1" dirty="0" err="1" smtClean="0"/>
              <a:t>xx</a:t>
            </a:r>
            <a:endParaRPr lang="de-DE" sz="800" b="1" dirty="0"/>
          </a:p>
        </p:txBody>
      </p:sp>
      <p:sp>
        <p:nvSpPr>
          <p:cNvPr id="17" name="Textfeld 16"/>
          <p:cNvSpPr txBox="1"/>
          <p:nvPr/>
        </p:nvSpPr>
        <p:spPr>
          <a:xfrm>
            <a:off x="2699792" y="2456912"/>
            <a:ext cx="1727752" cy="180000"/>
          </a:xfrm>
          <a:prstGeom prst="rect">
            <a:avLst/>
          </a:prstGeom>
          <a:noFill/>
        </p:spPr>
        <p:txBody>
          <a:bodyPr wrap="none" lIns="72000" tIns="72000" rIns="72000" bIns="72000" rtlCol="0" anchor="b">
            <a:noAutofit/>
          </a:bodyPr>
          <a:lstStyle/>
          <a:p>
            <a:pPr algn="r"/>
            <a:r>
              <a:rPr lang="de-DE" sz="800" b="1" dirty="0" smtClean="0"/>
              <a:t>Head </a:t>
            </a:r>
            <a:r>
              <a:rPr lang="de-DE" sz="800" b="1" dirty="0" err="1" smtClean="0"/>
              <a:t>of</a:t>
            </a:r>
            <a:r>
              <a:rPr lang="de-DE" sz="800" b="1" dirty="0" smtClean="0"/>
              <a:t> Ex</a:t>
            </a:r>
            <a:endParaRPr lang="de-DE" sz="800" b="1" dirty="0"/>
          </a:p>
        </p:txBody>
      </p:sp>
      <p:sp>
        <p:nvSpPr>
          <p:cNvPr id="20" name="Textfeld 19"/>
          <p:cNvSpPr txBox="1"/>
          <p:nvPr/>
        </p:nvSpPr>
        <p:spPr>
          <a:xfrm>
            <a:off x="2699792" y="3356992"/>
            <a:ext cx="1728192" cy="180000"/>
          </a:xfrm>
          <a:prstGeom prst="rect">
            <a:avLst/>
          </a:prstGeom>
          <a:noFill/>
        </p:spPr>
        <p:txBody>
          <a:bodyPr wrap="none" lIns="72000" tIns="72000" rIns="72000" bIns="72000" rtlCol="0" anchor="b">
            <a:noAutofit/>
          </a:bodyPr>
          <a:lstStyle/>
          <a:p>
            <a:pPr algn="r"/>
            <a:r>
              <a:rPr lang="de-DE" sz="800" b="1" dirty="0" smtClean="0"/>
              <a:t>Head </a:t>
            </a:r>
            <a:r>
              <a:rPr lang="de-DE" sz="800" b="1" dirty="0" err="1" smtClean="0"/>
              <a:t>of</a:t>
            </a:r>
            <a:r>
              <a:rPr lang="de-DE" sz="800" b="1" dirty="0" smtClean="0"/>
              <a:t> </a:t>
            </a:r>
            <a:r>
              <a:rPr lang="de-DE" sz="800" b="1" dirty="0" err="1" smtClean="0"/>
              <a:t>Tx</a:t>
            </a:r>
            <a:endParaRPr lang="de-DE" sz="800" b="1" dirty="0"/>
          </a:p>
        </p:txBody>
      </p:sp>
      <p:sp>
        <p:nvSpPr>
          <p:cNvPr id="21" name="Textfeld 20"/>
          <p:cNvSpPr txBox="1"/>
          <p:nvPr/>
        </p:nvSpPr>
        <p:spPr>
          <a:xfrm>
            <a:off x="7524456" y="5841140"/>
            <a:ext cx="1152000" cy="180000"/>
          </a:xfrm>
          <a:prstGeom prst="rect">
            <a:avLst/>
          </a:prstGeom>
          <a:noFill/>
        </p:spPr>
        <p:txBody>
          <a:bodyPr wrap="none" lIns="72000" tIns="72000" rIns="72000" bIns="72000" rtlCol="0" anchor="b">
            <a:noAutofit/>
          </a:bodyPr>
          <a:lstStyle/>
          <a:p>
            <a:pPr algn="r"/>
            <a:r>
              <a:rPr lang="de-DE" sz="800" b="1" smtClean="0"/>
              <a:t>Head of  Lx-x</a:t>
            </a:r>
            <a:endParaRPr lang="de-DE" sz="800" b="1" dirty="0"/>
          </a:p>
        </p:txBody>
      </p:sp>
      <p:sp>
        <p:nvSpPr>
          <p:cNvPr id="22" name="Textfeld 21"/>
          <p:cNvSpPr txBox="1"/>
          <p:nvPr/>
        </p:nvSpPr>
        <p:spPr>
          <a:xfrm>
            <a:off x="7524456" y="2312876"/>
            <a:ext cx="1152000" cy="180000"/>
          </a:xfrm>
          <a:prstGeom prst="rect">
            <a:avLst/>
          </a:prstGeom>
          <a:noFill/>
        </p:spPr>
        <p:txBody>
          <a:bodyPr wrap="none" lIns="72000" tIns="72000" rIns="72000" bIns="72000" rtlCol="0" anchor="b">
            <a:noAutofit/>
          </a:bodyPr>
          <a:lstStyle/>
          <a:p>
            <a:pPr algn="r"/>
            <a:r>
              <a:rPr lang="de-DE" sz="800" b="1" dirty="0" smtClean="0"/>
              <a:t>Head </a:t>
            </a:r>
            <a:r>
              <a:rPr lang="de-DE" sz="800" b="1" dirty="0" err="1" smtClean="0"/>
              <a:t>of</a:t>
            </a:r>
            <a:r>
              <a:rPr lang="de-DE" sz="800" b="1" dirty="0" smtClean="0"/>
              <a:t> </a:t>
            </a:r>
            <a:r>
              <a:rPr lang="de-DE" sz="800" b="1" dirty="0" err="1" smtClean="0"/>
              <a:t>Tx</a:t>
            </a:r>
            <a:endParaRPr lang="de-DE" sz="800" b="1" dirty="0"/>
          </a:p>
        </p:txBody>
      </p:sp>
      <p:sp>
        <p:nvSpPr>
          <p:cNvPr id="23" name="Textfeld 22"/>
          <p:cNvSpPr txBox="1"/>
          <p:nvPr/>
        </p:nvSpPr>
        <p:spPr>
          <a:xfrm>
            <a:off x="3275984" y="4401128"/>
            <a:ext cx="1152000" cy="180000"/>
          </a:xfrm>
          <a:prstGeom prst="rect">
            <a:avLst/>
          </a:prstGeom>
          <a:noFill/>
        </p:spPr>
        <p:txBody>
          <a:bodyPr wrap="none" lIns="72000" tIns="72000" rIns="72000" bIns="72000" rtlCol="0" anchor="b">
            <a:noAutofit/>
          </a:bodyPr>
          <a:lstStyle/>
          <a:p>
            <a:pPr algn="r"/>
            <a:r>
              <a:rPr lang="de-DE" sz="800" b="1" smtClean="0"/>
              <a:t>Module leader</a:t>
            </a:r>
            <a:endParaRPr lang="de-DE" sz="800" b="1" dirty="0"/>
          </a:p>
        </p:txBody>
      </p:sp>
      <p:sp>
        <p:nvSpPr>
          <p:cNvPr id="24" name="Textplatzhalter 6"/>
          <p:cNvSpPr txBox="1">
            <a:spLocks/>
          </p:cNvSpPr>
          <p:nvPr/>
        </p:nvSpPr>
        <p:spPr>
          <a:xfrm>
            <a:off x="4716456" y="2780928"/>
            <a:ext cx="3960000" cy="936000"/>
          </a:xfrm>
          <a:prstGeom prst="rect">
            <a:avLst/>
          </a:prstGeom>
          <a:solidFill>
            <a:schemeClr val="bg2">
              <a:lumMod val="20000"/>
              <a:lumOff val="80000"/>
            </a:schemeClr>
          </a:solidFill>
          <a:ln w="6350">
            <a:solidFill>
              <a:schemeClr val="bg2"/>
            </a:solidFill>
          </a:ln>
          <a:effectLst>
            <a:outerShdw blurRad="50800" dist="38100" dir="2700000" algn="tl" rotWithShape="0">
              <a:prstClr val="black">
                <a:alpha val="40000"/>
              </a:prstClr>
            </a:outerShdw>
          </a:effectLst>
        </p:spPr>
        <p:txBody>
          <a:bodyPr lIns="72000" tIns="72000" rIns="72000" bIns="72000"/>
          <a:lstStyle/>
          <a:p>
            <a:r>
              <a:rPr lang="de-DE" sz="1400" dirty="0" smtClean="0"/>
              <a:t>„The </a:t>
            </a:r>
            <a:r>
              <a:rPr lang="de-DE" sz="1400" dirty="0" err="1" smtClean="0"/>
              <a:t>key</a:t>
            </a:r>
            <a:r>
              <a:rPr lang="de-DE" sz="1400" dirty="0" smtClean="0"/>
              <a:t> </a:t>
            </a:r>
            <a:r>
              <a:rPr lang="de-DE" sz="1400" dirty="0" err="1" smtClean="0"/>
              <a:t>prerequitsite</a:t>
            </a:r>
            <a:r>
              <a:rPr lang="de-DE" sz="1400" dirty="0" smtClean="0"/>
              <a:t> </a:t>
            </a:r>
            <a:r>
              <a:rPr lang="de-DE" sz="1400" dirty="0" err="1" smtClean="0"/>
              <a:t>for</a:t>
            </a:r>
            <a:r>
              <a:rPr lang="de-DE" sz="1400" dirty="0" smtClean="0"/>
              <a:t> </a:t>
            </a:r>
            <a:r>
              <a:rPr lang="de-DE" sz="1400" dirty="0" err="1" smtClean="0"/>
              <a:t>further</a:t>
            </a:r>
            <a:r>
              <a:rPr lang="de-DE" sz="1400" dirty="0" smtClean="0"/>
              <a:t> </a:t>
            </a:r>
            <a:r>
              <a:rPr lang="de-DE" sz="1400" dirty="0" err="1" smtClean="0"/>
              <a:t>progress</a:t>
            </a:r>
            <a:r>
              <a:rPr lang="de-DE" sz="1400" dirty="0" smtClean="0"/>
              <a:t> </a:t>
            </a:r>
            <a:r>
              <a:rPr lang="de-DE" sz="1400" dirty="0" err="1" smtClean="0"/>
              <a:t>is</a:t>
            </a:r>
            <a:r>
              <a:rPr lang="de-DE" sz="1400" dirty="0" smtClean="0"/>
              <a:t> </a:t>
            </a:r>
            <a:r>
              <a:rPr lang="de-DE" sz="1400" dirty="0" err="1" smtClean="0"/>
              <a:t>to</a:t>
            </a:r>
            <a:r>
              <a:rPr lang="de-DE" sz="1400" dirty="0" smtClean="0"/>
              <a:t> </a:t>
            </a:r>
            <a:r>
              <a:rPr lang="de-DE" sz="1400" dirty="0" err="1" smtClean="0"/>
              <a:t>comply</a:t>
            </a:r>
            <a:r>
              <a:rPr lang="de-DE" sz="1400" dirty="0" smtClean="0"/>
              <a:t> </a:t>
            </a:r>
            <a:r>
              <a:rPr lang="de-DE" sz="1400" dirty="0" err="1" smtClean="0"/>
              <a:t>with</a:t>
            </a:r>
            <a:r>
              <a:rPr lang="de-DE" sz="1400" dirty="0" smtClean="0"/>
              <a:t> </a:t>
            </a:r>
            <a:r>
              <a:rPr lang="de-DE" sz="1400" dirty="0" err="1" smtClean="0"/>
              <a:t>and</a:t>
            </a:r>
            <a:r>
              <a:rPr lang="de-DE" sz="1400" dirty="0" smtClean="0"/>
              <a:t> </a:t>
            </a:r>
            <a:r>
              <a:rPr lang="de-DE" sz="1400" dirty="0" err="1" smtClean="0"/>
              <a:t>to</a:t>
            </a:r>
            <a:r>
              <a:rPr lang="de-DE" sz="1400" dirty="0" smtClean="0"/>
              <a:t> </a:t>
            </a:r>
            <a:r>
              <a:rPr lang="de-DE" sz="1400" dirty="0" err="1" smtClean="0"/>
              <a:t>meet</a:t>
            </a:r>
            <a:r>
              <a:rPr lang="de-DE" sz="1400" dirty="0" smtClean="0"/>
              <a:t> </a:t>
            </a:r>
            <a:r>
              <a:rPr lang="de-DE" sz="1400" dirty="0" err="1" smtClean="0"/>
              <a:t>consequently</a:t>
            </a:r>
            <a:r>
              <a:rPr lang="de-DE" sz="1400" dirty="0" smtClean="0"/>
              <a:t> </a:t>
            </a:r>
            <a:r>
              <a:rPr lang="de-DE" sz="1400" dirty="0" err="1" smtClean="0"/>
              <a:t>the</a:t>
            </a:r>
            <a:r>
              <a:rPr lang="de-DE" sz="1400" dirty="0" smtClean="0"/>
              <a:t> </a:t>
            </a:r>
            <a:r>
              <a:rPr lang="de-DE" sz="1400" dirty="0" err="1" smtClean="0"/>
              <a:t>maturity</a:t>
            </a:r>
            <a:r>
              <a:rPr lang="de-DE" sz="1400" dirty="0" smtClean="0"/>
              <a:t> </a:t>
            </a:r>
            <a:r>
              <a:rPr lang="de-DE" sz="1400" dirty="0" err="1" smtClean="0"/>
              <a:t>requirement</a:t>
            </a:r>
            <a:r>
              <a:rPr lang="de-DE" sz="1400" dirty="0" smtClean="0"/>
              <a:t> </a:t>
            </a:r>
            <a:r>
              <a:rPr lang="de-DE" sz="1400" dirty="0" err="1" smtClean="0"/>
              <a:t>and</a:t>
            </a:r>
            <a:r>
              <a:rPr lang="de-DE" sz="1400" dirty="0" smtClean="0"/>
              <a:t> </a:t>
            </a:r>
            <a:r>
              <a:rPr lang="de-DE" sz="1400" dirty="0" err="1" smtClean="0"/>
              <a:t>inputs</a:t>
            </a:r>
            <a:r>
              <a:rPr lang="de-DE" sz="1400" dirty="0" smtClean="0"/>
              <a:t> </a:t>
            </a:r>
            <a:r>
              <a:rPr lang="de-DE" sz="1400" dirty="0" err="1" smtClean="0"/>
              <a:t>of</a:t>
            </a:r>
            <a:r>
              <a:rPr lang="de-DE" sz="1400" dirty="0" smtClean="0"/>
              <a:t> all </a:t>
            </a:r>
            <a:r>
              <a:rPr lang="de-DE" sz="1400" dirty="0" err="1" smtClean="0"/>
              <a:t>CoCs</a:t>
            </a:r>
            <a:r>
              <a:rPr lang="de-DE" sz="1400" dirty="0" smtClean="0"/>
              <a:t> </a:t>
            </a:r>
            <a:r>
              <a:rPr lang="de-DE" sz="1400" dirty="0" err="1" smtClean="0"/>
              <a:t>involved</a:t>
            </a:r>
            <a:r>
              <a:rPr lang="de-DE" sz="1400" dirty="0" smtClean="0"/>
              <a:t>.“</a:t>
            </a:r>
            <a:endParaRPr lang="de-DE" sz="1400" dirty="0"/>
          </a:p>
        </p:txBody>
      </p:sp>
      <p:sp>
        <p:nvSpPr>
          <p:cNvPr id="25" name="Textfeld 24"/>
          <p:cNvSpPr txBox="1"/>
          <p:nvPr/>
        </p:nvSpPr>
        <p:spPr>
          <a:xfrm>
            <a:off x="7524456" y="3537679"/>
            <a:ext cx="1152000" cy="180000"/>
          </a:xfrm>
          <a:prstGeom prst="rect">
            <a:avLst/>
          </a:prstGeom>
          <a:noFill/>
        </p:spPr>
        <p:txBody>
          <a:bodyPr wrap="none" lIns="72000" tIns="72000" rIns="72000" bIns="72000" rtlCol="0" anchor="b">
            <a:noAutofit/>
          </a:bodyPr>
          <a:lstStyle/>
          <a:p>
            <a:pPr algn="r"/>
            <a:r>
              <a:rPr lang="de-DE" sz="800" b="1" dirty="0" smtClean="0"/>
              <a:t>Head </a:t>
            </a:r>
            <a:r>
              <a:rPr lang="de-DE" sz="800" b="1" dirty="0" err="1" smtClean="0"/>
              <a:t>of</a:t>
            </a:r>
            <a:r>
              <a:rPr lang="de-DE" sz="800" b="1" dirty="0" smtClean="0"/>
              <a:t> </a:t>
            </a:r>
            <a:r>
              <a:rPr lang="de-DE" sz="800" b="1" dirty="0" err="1" smtClean="0"/>
              <a:t>Tx</a:t>
            </a:r>
            <a:endParaRPr lang="de-DE" sz="800" b="1" dirty="0"/>
          </a:p>
        </p:txBody>
      </p:sp>
      <p:sp>
        <p:nvSpPr>
          <p:cNvPr id="26" name="Textplatzhalter 6"/>
          <p:cNvSpPr txBox="1">
            <a:spLocks/>
          </p:cNvSpPr>
          <p:nvPr/>
        </p:nvSpPr>
        <p:spPr>
          <a:xfrm>
            <a:off x="4716456" y="3969060"/>
            <a:ext cx="3960000" cy="1008000"/>
          </a:xfrm>
          <a:prstGeom prst="rect">
            <a:avLst/>
          </a:prstGeom>
          <a:solidFill>
            <a:schemeClr val="bg2">
              <a:lumMod val="20000"/>
              <a:lumOff val="80000"/>
            </a:schemeClr>
          </a:solidFill>
          <a:ln w="6350">
            <a:solidFill>
              <a:schemeClr val="bg2"/>
            </a:solidFill>
          </a:ln>
          <a:effectLst>
            <a:outerShdw blurRad="50800" dist="38100" dir="2700000" algn="tl" rotWithShape="0">
              <a:prstClr val="black">
                <a:alpha val="40000"/>
              </a:prstClr>
            </a:outerShdw>
          </a:effectLst>
        </p:spPr>
        <p:txBody>
          <a:bodyPr lIns="72000" tIns="72000" rIns="72000" bIns="72000"/>
          <a:lstStyle/>
          <a:p>
            <a:r>
              <a:rPr lang="de-DE" sz="1400" smtClean="0"/>
              <a:t>„The target to build up the best BBG so far has been reached  - also due to RGM! But there is no reason to rest. In PVL we have to achieve a further maturity progress – additionally to other maturity progress!“  </a:t>
            </a:r>
            <a:endParaRPr lang="de-DE" sz="1400" dirty="0" smtClean="0"/>
          </a:p>
        </p:txBody>
      </p:sp>
      <p:sp>
        <p:nvSpPr>
          <p:cNvPr id="27" name="Textfeld 26"/>
          <p:cNvSpPr txBox="1"/>
          <p:nvPr/>
        </p:nvSpPr>
        <p:spPr>
          <a:xfrm>
            <a:off x="7524456" y="4797068"/>
            <a:ext cx="1152000" cy="180000"/>
          </a:xfrm>
          <a:prstGeom prst="rect">
            <a:avLst/>
          </a:prstGeom>
          <a:noFill/>
        </p:spPr>
        <p:txBody>
          <a:bodyPr wrap="none" lIns="72000" tIns="72000" rIns="72000" bIns="72000" rtlCol="0" anchor="b">
            <a:noAutofit/>
          </a:bodyPr>
          <a:lstStyle/>
          <a:p>
            <a:pPr algn="r"/>
            <a:r>
              <a:rPr lang="de-DE" sz="800" b="1" smtClean="0"/>
              <a:t>Head of  Lx-x</a:t>
            </a:r>
            <a:endParaRPr lang="de-DE" sz="800" b="1" dirty="0"/>
          </a:p>
        </p:txBody>
      </p:sp>
      <p:sp>
        <p:nvSpPr>
          <p:cNvPr id="28" name="Foliennummernplatzhalter 27"/>
          <p:cNvSpPr txBox="1">
            <a:spLocks/>
          </p:cNvSpPr>
          <p:nvPr/>
        </p:nvSpPr>
        <p:spPr>
          <a:xfrm>
            <a:off x="6553200" y="6528871"/>
            <a:ext cx="2124075" cy="329130"/>
          </a:xfrm>
          <a:prstGeom prst="rect">
            <a:avLst/>
          </a:prstGeom>
        </p:spPr>
        <p:txBody>
          <a:bodyPr vert="horz"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sz="900" smtClean="0"/>
              <a:t>Slide</a:t>
            </a:r>
            <a:r>
              <a:rPr kumimoji="0" lang="de-DE" sz="900" b="0" i="0" u="none" strike="noStrike" kern="1200" cap="none" spc="0" normalizeH="0" baseline="0" noProof="0" smtClean="0">
                <a:ln>
                  <a:noFill/>
                </a:ln>
                <a:solidFill>
                  <a:schemeClr val="tx1"/>
                </a:solidFill>
                <a:effectLst/>
                <a:uLnTx/>
                <a:uFillTx/>
                <a:latin typeface="+mn-lt"/>
                <a:ea typeface="+mn-ea"/>
                <a:cs typeface="+mn-cs"/>
              </a:rPr>
              <a:t> </a:t>
            </a:r>
            <a:fld id="{AA807A42-CF27-4B84-8583-18EBE418342E}" type="slidenum">
              <a:rPr kumimoji="0" lang="de-DE"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9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nvGraphicFramePr>
        <p:xfrm>
          <a:off x="1587" y="1588"/>
          <a:ext cx="1587" cy="1587"/>
        </p:xfrm>
        <a:graphic>
          <a:graphicData uri="http://schemas.openxmlformats.org/presentationml/2006/ole">
            <p:oleObj spid="_x0000_s103426" name="think-cell Folie" r:id="rId4" imgW="360" imgH="360" progId="TCLayout.ActiveDocument.1">
              <p:embed/>
            </p:oleObj>
          </a:graphicData>
        </a:graphic>
      </p:graphicFrame>
      <p:sp>
        <p:nvSpPr>
          <p:cNvPr id="4" name="Textplatzhalter 3"/>
          <p:cNvSpPr>
            <a:spLocks noGrp="1"/>
          </p:cNvSpPr>
          <p:nvPr>
            <p:ph type="body" sz="quarter" idx="13"/>
          </p:nvPr>
        </p:nvSpPr>
        <p:spPr>
          <a:xfrm>
            <a:off x="459687" y="403226"/>
            <a:ext cx="7568169" cy="432798"/>
          </a:xfrm>
        </p:spPr>
        <p:txBody>
          <a:bodyPr/>
          <a:lstStyle/>
          <a:p>
            <a:r>
              <a:rPr lang="de-DE" smtClean="0"/>
              <a:t>In Pilot projcts prior concrete sucess has been achieved. </a:t>
            </a:r>
            <a:endParaRPr lang="de-DE" dirty="0" smtClean="0"/>
          </a:p>
          <a:p>
            <a:r>
              <a:rPr lang="de-DE" sz="2000" smtClean="0">
                <a:solidFill>
                  <a:schemeClr val="tx1"/>
                </a:solidFill>
              </a:rPr>
              <a:t>Direct Quotes FROM Pilot Projects G11/12</a:t>
            </a:r>
            <a:r>
              <a:rPr lang="de-DE" sz="2000" dirty="0" smtClean="0">
                <a:solidFill>
                  <a:schemeClr val="tx1"/>
                </a:solidFill>
              </a:rPr>
              <a:t>, G30, </a:t>
            </a:r>
            <a:r>
              <a:rPr lang="de-DE" sz="2000" smtClean="0">
                <a:solidFill>
                  <a:schemeClr val="tx1"/>
                </a:solidFill>
              </a:rPr>
              <a:t>F56 ANd </a:t>
            </a:r>
            <a:r>
              <a:rPr lang="de-DE" sz="2000" dirty="0" smtClean="0">
                <a:solidFill>
                  <a:schemeClr val="tx1"/>
                </a:solidFill>
              </a:rPr>
              <a:t>F60.</a:t>
            </a:r>
          </a:p>
        </p:txBody>
      </p:sp>
      <p:pic>
        <p:nvPicPr>
          <p:cNvPr id="31" name="Picture 4" descr="https://mediapool.muc/mediapool/icontroller/common/stream?actEvent=zoom&amp;assetId=336694"/>
          <p:cNvPicPr>
            <a:picLocks noChangeAspect="1" noChangeArrowheads="1"/>
          </p:cNvPicPr>
          <p:nvPr/>
        </p:nvPicPr>
        <p:blipFill>
          <a:blip r:embed="rId5" cstate="print"/>
          <a:srcRect l="6450" r="1819" b="11393"/>
          <a:stretch>
            <a:fillRect/>
          </a:stretch>
        </p:blipFill>
        <p:spPr bwMode="auto">
          <a:xfrm>
            <a:off x="467544" y="1700808"/>
            <a:ext cx="2448272" cy="1584000"/>
          </a:xfrm>
          <a:prstGeom prst="rect">
            <a:avLst/>
          </a:prstGeom>
          <a:noFill/>
        </p:spPr>
      </p:pic>
      <p:pic>
        <p:nvPicPr>
          <p:cNvPr id="32" name="Picture 8" descr="https://mediapool.muc/mediapool/icontroller/common/stream?actEvent=zoom&amp;assetId=345703"/>
          <p:cNvPicPr>
            <a:picLocks noChangeAspect="1" noChangeArrowheads="1"/>
          </p:cNvPicPr>
          <p:nvPr/>
        </p:nvPicPr>
        <p:blipFill>
          <a:blip r:embed="rId6" cstate="print"/>
          <a:srcRect l="9251" t="9516" r="7336" b="28286"/>
          <a:stretch>
            <a:fillRect/>
          </a:stretch>
        </p:blipFill>
        <p:spPr bwMode="auto">
          <a:xfrm>
            <a:off x="459687" y="3284808"/>
            <a:ext cx="2456129" cy="1584054"/>
          </a:xfrm>
          <a:prstGeom prst="rect">
            <a:avLst/>
          </a:prstGeom>
          <a:noFill/>
        </p:spPr>
      </p:pic>
      <p:sp>
        <p:nvSpPr>
          <p:cNvPr id="27" name="Textplatzhalter 6"/>
          <p:cNvSpPr>
            <a:spLocks noGrp="1"/>
          </p:cNvSpPr>
          <p:nvPr>
            <p:ph type="body" sz="quarter" idx="14"/>
          </p:nvPr>
        </p:nvSpPr>
        <p:spPr>
          <a:xfrm>
            <a:off x="3096156" y="2420888"/>
            <a:ext cx="3996124" cy="180000"/>
          </a:xfrm>
        </p:spPr>
        <p:txBody>
          <a:bodyPr/>
          <a:lstStyle/>
          <a:p>
            <a:pPr marL="0" lvl="3" indent="0">
              <a:buSzPct val="80000"/>
              <a:buNone/>
            </a:pPr>
            <a:r>
              <a:rPr lang="de-DE" sz="1200" smtClean="0"/>
              <a:t>„Suppliers are sensibilised concerning the quality of components.“</a:t>
            </a:r>
            <a:endParaRPr lang="de-DE" sz="1200" dirty="0" smtClean="0"/>
          </a:p>
        </p:txBody>
      </p:sp>
      <p:sp>
        <p:nvSpPr>
          <p:cNvPr id="29" name="Textplatzhalter 6"/>
          <p:cNvSpPr txBox="1">
            <a:spLocks/>
          </p:cNvSpPr>
          <p:nvPr/>
        </p:nvSpPr>
        <p:spPr>
          <a:xfrm>
            <a:off x="2988264" y="1736840"/>
            <a:ext cx="3960000" cy="252000"/>
          </a:xfrm>
          <a:prstGeom prst="rect">
            <a:avLst/>
          </a:prstGeom>
        </p:spPr>
        <p:txBody>
          <a:bodyPr lIns="0" tIns="0" rIns="0" bIns="0"/>
          <a:lstStyle/>
          <a:p>
            <a:pPr marL="0" marR="0" lvl="3" algn="l" defTabSz="914400" rtl="0" eaLnBrk="1" fontAlgn="auto" latinLnBrk="0" hangingPunct="1">
              <a:lnSpc>
                <a:spcPct val="100000"/>
              </a:lnSpc>
              <a:spcBef>
                <a:spcPts val="0"/>
              </a:spcBef>
              <a:spcAft>
                <a:spcPts val="1200"/>
              </a:spcAft>
              <a:buClrTx/>
              <a:buSzPct val="80000"/>
              <a:buFont typeface="Symbol" pitchFamily="18" charset="2"/>
              <a:buNone/>
              <a:tabLst/>
              <a:defRPr/>
            </a:pPr>
            <a:r>
              <a:rPr kumimoji="0" lang="de-DE" sz="1200" b="0" i="0" u="none" strike="noStrike" kern="1200" cap="none" spc="0" normalizeH="0" baseline="0" noProof="0" smtClean="0">
                <a:ln>
                  <a:noFill/>
                </a:ln>
                <a:solidFill>
                  <a:schemeClr val="tx1"/>
                </a:solidFill>
                <a:effectLst/>
                <a:uLnTx/>
                <a:uFillTx/>
                <a:latin typeface="+mn-lt"/>
                <a:ea typeface="BMW Type Global Pro Regular" pitchFamily="2" charset="0"/>
                <a:cs typeface="BMW Type Global Pro Regular" pitchFamily="2" charset="0"/>
              </a:rPr>
              <a:t>„… target-oriented dialogue between EV and FGV</a:t>
            </a:r>
            <a:r>
              <a:rPr kumimoji="0" lang="de-DE" sz="1200" b="0" i="0" u="none" strike="noStrike" kern="1200" cap="none" spc="0" normalizeH="0" baseline="0" noProof="0" dirty="0" smtClean="0">
                <a:ln>
                  <a:noFill/>
                </a:ln>
                <a:solidFill>
                  <a:schemeClr val="tx1"/>
                </a:solidFill>
                <a:effectLst/>
                <a:uLnTx/>
                <a:uFillTx/>
                <a:latin typeface="+mn-lt"/>
                <a:ea typeface="BMW Type Global Pro Regular" pitchFamily="2" charset="0"/>
                <a:cs typeface="BMW Type Global Pro Regular" pitchFamily="2" charset="0"/>
              </a:rPr>
              <a:t>…“</a:t>
            </a:r>
          </a:p>
          <a:p>
            <a:pPr marL="273050" marR="0" lvl="3" indent="-273050" algn="l" defTabSz="914400" rtl="0" eaLnBrk="1" fontAlgn="auto" latinLnBrk="0" hangingPunct="1">
              <a:lnSpc>
                <a:spcPct val="100000"/>
              </a:lnSpc>
              <a:spcBef>
                <a:spcPts val="0"/>
              </a:spcBef>
              <a:spcAft>
                <a:spcPts val="1200"/>
              </a:spcAft>
              <a:buClrTx/>
              <a:buSzPct val="100000"/>
              <a:buFont typeface="Wingdings" pitchFamily="2" charset="2"/>
              <a:buChar char="Ø"/>
              <a:tabLst/>
              <a:defRPr/>
            </a:pPr>
            <a:endParaRPr kumimoji="0" lang="de-DE" sz="1200" b="0" i="0" u="none" strike="noStrike" kern="1200" cap="none" spc="0" normalizeH="0" baseline="0" noProof="0" dirty="0" smtClean="0">
              <a:ln>
                <a:noFill/>
              </a:ln>
              <a:solidFill>
                <a:schemeClr val="tx1"/>
              </a:solidFill>
              <a:effectLst/>
              <a:uLnTx/>
              <a:uFillTx/>
              <a:latin typeface="+mn-lt"/>
              <a:ea typeface="BMW Type Global Pro Regular" pitchFamily="2" charset="0"/>
              <a:cs typeface="BMW Type Global Pro Regular" pitchFamily="2" charset="0"/>
            </a:endParaRPr>
          </a:p>
        </p:txBody>
      </p:sp>
      <p:sp>
        <p:nvSpPr>
          <p:cNvPr id="13" name="Textplatzhalter 6"/>
          <p:cNvSpPr txBox="1">
            <a:spLocks/>
          </p:cNvSpPr>
          <p:nvPr/>
        </p:nvSpPr>
        <p:spPr>
          <a:xfrm>
            <a:off x="4284496" y="6093296"/>
            <a:ext cx="4392000" cy="360000"/>
          </a:xfrm>
          <a:prstGeom prst="rect">
            <a:avLst/>
          </a:prstGeom>
        </p:spPr>
        <p:txBody>
          <a:bodyPr lIns="0" tIns="0" rIns="0" bIns="0"/>
          <a:lstStyle/>
          <a:p>
            <a:pPr marL="0" lvl="3">
              <a:spcAft>
                <a:spcPts val="1200"/>
              </a:spcAft>
              <a:buSzPct val="80000"/>
            </a:pPr>
            <a:r>
              <a:rPr lang="de-DE" sz="1200" smtClean="0"/>
              <a:t>„Because of the Maturity Level Agreement we question information and thus, a common understanding is created.“</a:t>
            </a:r>
            <a:endParaRPr kumimoji="0" lang="de-DE" sz="1200" b="0" i="0" u="none" strike="noStrike" kern="1200" cap="none" spc="0" normalizeH="0" baseline="0" noProof="0" dirty="0" smtClean="0">
              <a:ln>
                <a:noFill/>
              </a:ln>
              <a:solidFill>
                <a:schemeClr val="tx1"/>
              </a:solidFill>
              <a:effectLst/>
              <a:uLnTx/>
              <a:uFillTx/>
              <a:latin typeface="+mn-lt"/>
              <a:ea typeface="BMW Type Global Pro Regular" pitchFamily="2" charset="0"/>
              <a:cs typeface="BMW Type Global Pro Regular" pitchFamily="2" charset="0"/>
            </a:endParaRPr>
          </a:p>
        </p:txBody>
      </p:sp>
      <p:sp>
        <p:nvSpPr>
          <p:cNvPr id="14" name="Textplatzhalter 6"/>
          <p:cNvSpPr txBox="1">
            <a:spLocks/>
          </p:cNvSpPr>
          <p:nvPr/>
        </p:nvSpPr>
        <p:spPr>
          <a:xfrm>
            <a:off x="3204456" y="5517232"/>
            <a:ext cx="5472000" cy="360000"/>
          </a:xfrm>
          <a:prstGeom prst="rect">
            <a:avLst/>
          </a:prstGeom>
        </p:spPr>
        <p:txBody>
          <a:bodyPr lIns="0" tIns="0" rIns="0" bIns="0"/>
          <a:lstStyle/>
          <a:p>
            <a:pPr marL="0" lvl="3">
              <a:spcAft>
                <a:spcPts val="1200"/>
              </a:spcAft>
              <a:buSzPct val="80000"/>
            </a:pPr>
            <a:r>
              <a:rPr lang="de-DE" sz="1200" smtClean="0"/>
              <a:t>„… different expectations become transparent and can be targeted with measures at an early stage.“</a:t>
            </a:r>
            <a:endParaRPr kumimoji="0" lang="de-DE" sz="1200" b="0" i="0" u="none" strike="noStrike" kern="1200" cap="none" spc="0" normalizeH="0" baseline="0" noProof="0" dirty="0" smtClean="0">
              <a:ln>
                <a:noFill/>
              </a:ln>
              <a:effectLst/>
              <a:uLnTx/>
              <a:uFillTx/>
              <a:latin typeface="+mn-lt"/>
              <a:ea typeface="BMW Type Global Pro Regular" pitchFamily="2" charset="0"/>
              <a:cs typeface="BMW Type Global Pro Regular" pitchFamily="2" charset="0"/>
            </a:endParaRPr>
          </a:p>
        </p:txBody>
      </p:sp>
      <p:sp>
        <p:nvSpPr>
          <p:cNvPr id="15" name="Textplatzhalter 6"/>
          <p:cNvSpPr txBox="1">
            <a:spLocks/>
          </p:cNvSpPr>
          <p:nvPr/>
        </p:nvSpPr>
        <p:spPr>
          <a:xfrm>
            <a:off x="4608468" y="1988840"/>
            <a:ext cx="4032000" cy="360000"/>
          </a:xfrm>
          <a:prstGeom prst="rect">
            <a:avLst/>
          </a:prstGeom>
        </p:spPr>
        <p:txBody>
          <a:bodyPr lIns="0" tIns="0" rIns="0" bIns="0"/>
          <a:lstStyle/>
          <a:p>
            <a:pPr marL="0" lvl="3">
              <a:spcAft>
                <a:spcPts val="1200"/>
              </a:spcAft>
              <a:buSzPct val="80000"/>
            </a:pPr>
            <a:r>
              <a:rPr lang="de-DE" sz="1200" smtClean="0">
                <a:ea typeface="BMW Type Global Pro Regular" pitchFamily="2" charset="0"/>
                <a:cs typeface="BMW Type Global Pro Regular" pitchFamily="2" charset="0"/>
              </a:rPr>
              <a:t>„Relating to G11/G12 we‘ve found three critical components which wouldn‘t have been discovered inevitably without RGM.“</a:t>
            </a:r>
            <a:endParaRPr kumimoji="0" lang="de-DE" sz="1200" b="0" i="0" u="none" strike="noStrike" kern="1200" cap="none" spc="0" normalizeH="0" baseline="0" noProof="0" dirty="0" smtClean="0">
              <a:ln>
                <a:noFill/>
              </a:ln>
              <a:solidFill>
                <a:schemeClr val="tx1"/>
              </a:solidFill>
              <a:effectLst/>
              <a:uLnTx/>
              <a:uFillTx/>
              <a:latin typeface="+mn-lt"/>
              <a:ea typeface="BMW Type Global Pro Regular" pitchFamily="2" charset="0"/>
              <a:cs typeface="BMW Type Global Pro Regular" pitchFamily="2" charset="0"/>
            </a:endParaRPr>
          </a:p>
        </p:txBody>
      </p:sp>
      <p:sp>
        <p:nvSpPr>
          <p:cNvPr id="17" name="Textplatzhalter 6"/>
          <p:cNvSpPr txBox="1">
            <a:spLocks/>
          </p:cNvSpPr>
          <p:nvPr/>
        </p:nvSpPr>
        <p:spPr>
          <a:xfrm>
            <a:off x="4428456" y="3213016"/>
            <a:ext cx="4248000" cy="360000"/>
          </a:xfrm>
          <a:prstGeom prst="rect">
            <a:avLst/>
          </a:prstGeom>
        </p:spPr>
        <p:txBody>
          <a:bodyPr lIns="0" tIns="0" rIns="0" bIns="0"/>
          <a:lstStyle/>
          <a:p>
            <a:pPr marL="0" lvl="3">
              <a:spcAft>
                <a:spcPts val="1200"/>
              </a:spcAft>
              <a:buSzPct val="80000"/>
            </a:pPr>
            <a:r>
              <a:rPr lang="de-DE" sz="1200" smtClean="0">
                <a:ea typeface="BMW Type Global Pro Regular" pitchFamily="2" charset="0"/>
                <a:cs typeface="BMW Type Global Pro Regular" pitchFamily="2" charset="0"/>
              </a:rPr>
              <a:t>„Due to the piloting of RGMs several topics have been arisen which wouldn‘t have been disovered so early otherwise.“</a:t>
            </a:r>
            <a:endParaRPr kumimoji="0" lang="de-DE" sz="1200" b="0" i="0" u="none" strike="noStrike" kern="1200" cap="none" spc="0" normalizeH="0" baseline="0" noProof="0" dirty="0" smtClean="0">
              <a:ln>
                <a:noFill/>
              </a:ln>
              <a:solidFill>
                <a:schemeClr val="tx1"/>
              </a:solidFill>
              <a:effectLst/>
              <a:uLnTx/>
              <a:uFillTx/>
              <a:latin typeface="+mn-lt"/>
              <a:ea typeface="BMW Type Global Pro Regular" pitchFamily="2" charset="0"/>
              <a:cs typeface="BMW Type Global Pro Regular" pitchFamily="2" charset="0"/>
            </a:endParaRPr>
          </a:p>
        </p:txBody>
      </p:sp>
      <p:sp>
        <p:nvSpPr>
          <p:cNvPr id="16" name="Textplatzhalter 6"/>
          <p:cNvSpPr txBox="1">
            <a:spLocks/>
          </p:cNvSpPr>
          <p:nvPr/>
        </p:nvSpPr>
        <p:spPr>
          <a:xfrm>
            <a:off x="3159819" y="3789136"/>
            <a:ext cx="5508000" cy="504000"/>
          </a:xfrm>
          <a:prstGeom prst="rect">
            <a:avLst/>
          </a:prstGeom>
        </p:spPr>
        <p:txBody>
          <a:bodyPr lIns="0" tIns="0" rIns="0" bIns="0"/>
          <a:lstStyle/>
          <a:p>
            <a:pPr marL="0" lvl="3">
              <a:spcAft>
                <a:spcPts val="1200"/>
              </a:spcAft>
              <a:buSzPct val="80000"/>
            </a:pPr>
            <a:r>
              <a:rPr lang="de-DE" sz="1200" smtClean="0">
                <a:ea typeface="BMW Type Global Pro Regular" pitchFamily="2" charset="0"/>
                <a:cs typeface="BMW Type Global Pro Regular" pitchFamily="2" charset="0"/>
              </a:rPr>
              <a:t>„The event [</a:t>
            </a:r>
            <a:r>
              <a:rPr lang="de-DE" sz="1200" dirty="0" smtClean="0">
                <a:ea typeface="BMW Type Global Pro Regular" pitchFamily="2" charset="0"/>
                <a:cs typeface="BMW Type Global Pro Regular" pitchFamily="2" charset="0"/>
              </a:rPr>
              <a:t>Audit VKBG Akustik</a:t>
            </a:r>
            <a:r>
              <a:rPr lang="de-DE" sz="1200" smtClean="0">
                <a:ea typeface="BMW Type Global Pro Regular" pitchFamily="2" charset="0"/>
                <a:cs typeface="BMW Type Global Pro Regular" pitchFamily="2" charset="0"/>
              </a:rPr>
              <a:t>] has never taken place before in this way. EV appreciated this fact because potential risky components could be discovered at an early stage and tasks could be distributed.“</a:t>
            </a:r>
            <a:endParaRPr kumimoji="0" lang="de-DE" sz="1200" b="0" i="0" u="none" strike="noStrike" kern="1200" cap="none" spc="0" normalizeH="0" baseline="0" noProof="0" dirty="0" smtClean="0">
              <a:ln>
                <a:noFill/>
              </a:ln>
              <a:solidFill>
                <a:schemeClr val="tx1"/>
              </a:solidFill>
              <a:effectLst/>
              <a:uLnTx/>
              <a:uFillTx/>
              <a:latin typeface="+mn-lt"/>
              <a:ea typeface="BMW Type Global Pro Regular" pitchFamily="2" charset="0"/>
              <a:cs typeface="BMW Type Global Pro Regular" pitchFamily="2" charset="0"/>
            </a:endParaRPr>
          </a:p>
        </p:txBody>
      </p:sp>
      <p:sp>
        <p:nvSpPr>
          <p:cNvPr id="18" name="Textplatzhalter 6"/>
          <p:cNvSpPr txBox="1">
            <a:spLocks/>
          </p:cNvSpPr>
          <p:nvPr/>
        </p:nvSpPr>
        <p:spPr>
          <a:xfrm>
            <a:off x="3096156" y="4941208"/>
            <a:ext cx="4356164" cy="360000"/>
          </a:xfrm>
          <a:prstGeom prst="rect">
            <a:avLst/>
          </a:prstGeom>
        </p:spPr>
        <p:txBody>
          <a:bodyPr lIns="0" tIns="0" rIns="0" bIns="0"/>
          <a:lstStyle/>
          <a:p>
            <a:pPr marL="0" lvl="3">
              <a:spcAft>
                <a:spcPts val="1200"/>
              </a:spcAft>
              <a:buSzPct val="80000"/>
            </a:pPr>
            <a:r>
              <a:rPr lang="de-DE" sz="1200" smtClean="0"/>
              <a:t>„Due to Maturity Level Management transparency towards VKBG has increased obviously.“</a:t>
            </a:r>
            <a:endParaRPr kumimoji="0" lang="de-DE" sz="1200" b="0" i="0" u="none" strike="noStrike" kern="1200" cap="none" spc="0" normalizeH="0" baseline="0" noProof="0" dirty="0" smtClean="0">
              <a:ln>
                <a:noFill/>
              </a:ln>
              <a:effectLst/>
              <a:uLnTx/>
              <a:uFillTx/>
              <a:latin typeface="+mn-lt"/>
              <a:ea typeface="BMW Type Global Pro Regular" pitchFamily="2" charset="0"/>
              <a:cs typeface="BMW Type Global Pro Regular" pitchFamily="2" charset="0"/>
            </a:endParaRPr>
          </a:p>
        </p:txBody>
      </p:sp>
      <p:sp>
        <p:nvSpPr>
          <p:cNvPr id="19" name="Textplatzhalter 6"/>
          <p:cNvSpPr txBox="1">
            <a:spLocks/>
          </p:cNvSpPr>
          <p:nvPr/>
        </p:nvSpPr>
        <p:spPr>
          <a:xfrm>
            <a:off x="4770630" y="4437152"/>
            <a:ext cx="3888000" cy="360000"/>
          </a:xfrm>
          <a:prstGeom prst="rect">
            <a:avLst/>
          </a:prstGeom>
        </p:spPr>
        <p:txBody>
          <a:bodyPr lIns="0" tIns="0" rIns="0" bIns="0"/>
          <a:lstStyle/>
          <a:p>
            <a:pPr marL="0" lvl="3">
              <a:spcAft>
                <a:spcPts val="1200"/>
              </a:spcAft>
              <a:buSzPct val="80000"/>
            </a:pPr>
            <a:r>
              <a:rPr lang="de-DE" sz="1200" smtClean="0"/>
              <a:t>„Thanks to Maturity Level Management we have a good overview on the points we have to provide support for.“ </a:t>
            </a:r>
            <a:endParaRPr kumimoji="0" lang="de-DE" sz="1200" b="0" i="0" u="none" strike="noStrike" kern="1200" cap="none" spc="0" normalizeH="0" baseline="0" noProof="0" dirty="0" smtClean="0">
              <a:ln>
                <a:noFill/>
              </a:ln>
              <a:solidFill>
                <a:schemeClr val="tx1"/>
              </a:solidFill>
              <a:effectLst/>
              <a:uLnTx/>
              <a:uFillTx/>
              <a:latin typeface="+mn-lt"/>
              <a:ea typeface="BMW Type Global Pro Regular" pitchFamily="2" charset="0"/>
              <a:cs typeface="BMW Type Global Pro Regular" pitchFamily="2" charset="0"/>
            </a:endParaRPr>
          </a:p>
        </p:txBody>
      </p:sp>
      <p:sp>
        <p:nvSpPr>
          <p:cNvPr id="34" name="Fußzeilenplatzhalter 33"/>
          <p:cNvSpPr>
            <a:spLocks noGrp="1"/>
          </p:cNvSpPr>
          <p:nvPr>
            <p:ph type="ftr" sz="quarter" idx="10"/>
          </p:nvPr>
        </p:nvSpPr>
        <p:spPr>
          <a:xfrm>
            <a:off x="468312" y="6526213"/>
            <a:ext cx="4103687" cy="331787"/>
          </a:xfrm>
        </p:spPr>
        <p:txBody>
          <a:bodyPr/>
          <a:lstStyle/>
          <a:p>
            <a:pPr algn="l"/>
            <a:r>
              <a:rPr lang="de-DE" smtClean="0">
                <a:solidFill>
                  <a:prstClr val="black"/>
                </a:solidFill>
              </a:rPr>
              <a:t>Maturity Level Management Total Vehicle, Communication, Version 4.2</a:t>
            </a:r>
            <a:endParaRPr lang="de-DE" dirty="0">
              <a:solidFill>
                <a:prstClr val="black"/>
              </a:solidFill>
            </a:endParaRPr>
          </a:p>
        </p:txBody>
      </p:sp>
      <p:pic>
        <p:nvPicPr>
          <p:cNvPr id="22" name="Picture 10" descr="https://mediapool.muc/mediapool/icontroller/common/stream?actEvent=zoom&amp;assetId=345832"/>
          <p:cNvPicPr>
            <a:picLocks noChangeAspect="1" noChangeArrowheads="1"/>
          </p:cNvPicPr>
          <p:nvPr/>
        </p:nvPicPr>
        <p:blipFill>
          <a:blip r:embed="rId7" cstate="print"/>
          <a:srcRect l="1824" r="1727" b="11525"/>
          <a:stretch>
            <a:fillRect/>
          </a:stretch>
        </p:blipFill>
        <p:spPr bwMode="auto">
          <a:xfrm>
            <a:off x="467544" y="4869160"/>
            <a:ext cx="2448272" cy="1584325"/>
          </a:xfrm>
          <a:prstGeom prst="rect">
            <a:avLst/>
          </a:prstGeom>
          <a:noFill/>
        </p:spPr>
      </p:pic>
      <p:sp>
        <p:nvSpPr>
          <p:cNvPr id="20" name="Textplatzhalter 6"/>
          <p:cNvSpPr txBox="1">
            <a:spLocks/>
          </p:cNvSpPr>
          <p:nvPr/>
        </p:nvSpPr>
        <p:spPr>
          <a:xfrm>
            <a:off x="4842318" y="2672916"/>
            <a:ext cx="3816000" cy="360000"/>
          </a:xfrm>
          <a:prstGeom prst="rect">
            <a:avLst/>
          </a:prstGeom>
        </p:spPr>
        <p:txBody>
          <a:bodyPr lIns="0" tIns="0" rIns="0" bIns="0"/>
          <a:lstStyle/>
          <a:p>
            <a:pPr marL="0" lvl="3">
              <a:spcAft>
                <a:spcPts val="1200"/>
              </a:spcAft>
              <a:buSzPct val="80000"/>
            </a:pPr>
            <a:r>
              <a:rPr lang="de-DE" sz="1200" smtClean="0">
                <a:ea typeface="BMW Type Global Pro Regular" pitchFamily="2" charset="0"/>
                <a:cs typeface="BMW Type Global Pro Regular" pitchFamily="2" charset="0"/>
              </a:rPr>
              <a:t>„… because of the improved QMT-assistance we‘ve obtained test components from a first Q-loop by Cubing date.“ </a:t>
            </a:r>
            <a:endParaRPr kumimoji="0" lang="de-DE" sz="1200" b="0" i="0" u="none" strike="noStrike" kern="1200" cap="none" spc="0" normalizeH="0" baseline="0" noProof="0" dirty="0" smtClean="0">
              <a:ln>
                <a:noFill/>
              </a:ln>
              <a:solidFill>
                <a:schemeClr val="tx1"/>
              </a:solidFill>
              <a:effectLst/>
              <a:uLnTx/>
              <a:uFillTx/>
              <a:latin typeface="+mn-lt"/>
              <a:ea typeface="BMW Type Global Pro Regular" pitchFamily="2" charset="0"/>
              <a:cs typeface="BMW Type Global Pro Regular" pitchFamily="2" charset="0"/>
            </a:endParaRPr>
          </a:p>
        </p:txBody>
      </p:sp>
      <p:sp>
        <p:nvSpPr>
          <p:cNvPr id="23" name="Foliennummernplatzhalter 27"/>
          <p:cNvSpPr txBox="1">
            <a:spLocks/>
          </p:cNvSpPr>
          <p:nvPr/>
        </p:nvSpPr>
        <p:spPr>
          <a:xfrm>
            <a:off x="6553200" y="6528871"/>
            <a:ext cx="2124075" cy="329130"/>
          </a:xfrm>
          <a:prstGeom prst="rect">
            <a:avLst/>
          </a:prstGeom>
        </p:spPr>
        <p:txBody>
          <a:bodyPr vert="horz"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chemeClr val="tx1"/>
                </a:solidFill>
                <a:effectLst/>
                <a:uLnTx/>
                <a:uFillTx/>
                <a:latin typeface="+mn-lt"/>
                <a:ea typeface="+mn-ea"/>
                <a:cs typeface="+mn-cs"/>
              </a:rPr>
              <a:t>Slide </a:t>
            </a:r>
            <a:fld id="{AA807A42-CF27-4B84-8583-18EBE418342E}" type="slidenum">
              <a:rPr kumimoji="0" lang="de-DE"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9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kt 74" hidden="1"/>
          <p:cNvGraphicFramePr>
            <a:graphicFrameLocks noChangeAspect="1"/>
          </p:cNvGraphicFramePr>
          <p:nvPr/>
        </p:nvGraphicFramePr>
        <p:xfrm>
          <a:off x="0" y="0"/>
          <a:ext cx="158750" cy="158750"/>
        </p:xfrm>
        <a:graphic>
          <a:graphicData uri="http://schemas.openxmlformats.org/presentationml/2006/ole">
            <p:oleObj spid="_x0000_s197634" name="think-cell Folie" r:id="rId32" imgW="360" imgH="360" progId="TCLayout.ActiveDocument.1">
              <p:embed/>
            </p:oleObj>
          </a:graphicData>
        </a:graphic>
      </p:graphicFrame>
      <p:sp>
        <p:nvSpPr>
          <p:cNvPr id="105" name="Textplatzhalter 3"/>
          <p:cNvSpPr>
            <a:spLocks noGrp="1"/>
          </p:cNvSpPr>
          <p:nvPr>
            <p:ph type="body" sz="quarter" idx="13"/>
          </p:nvPr>
        </p:nvSpPr>
        <p:spPr>
          <a:xfrm>
            <a:off x="459687" y="403225"/>
            <a:ext cx="8217588" cy="960437"/>
          </a:xfrm>
        </p:spPr>
        <p:txBody>
          <a:bodyPr/>
          <a:lstStyle/>
          <a:p>
            <a:r>
              <a:rPr lang="en-US" smtClean="0"/>
              <a:t>Benefit of a central maturity level management.</a:t>
            </a:r>
            <a:endParaRPr lang="en-US" dirty="0"/>
          </a:p>
        </p:txBody>
      </p:sp>
      <p:sp>
        <p:nvSpPr>
          <p:cNvPr id="76" name="Fußzeilenplatzhalter 1"/>
          <p:cNvSpPr>
            <a:spLocks noGrp="1"/>
          </p:cNvSpPr>
          <p:nvPr>
            <p:ph type="ftr" sz="quarter" idx="10"/>
          </p:nvPr>
        </p:nvSpPr>
        <p:spPr>
          <a:xfrm>
            <a:off x="468312" y="6526213"/>
            <a:ext cx="4391719" cy="331787"/>
          </a:xfrm>
        </p:spPr>
        <p:txBody>
          <a:bodyPr/>
          <a:lstStyle/>
          <a:p>
            <a:pPr algn="l"/>
            <a:r>
              <a:rPr lang="en-US" smtClean="0"/>
              <a:t>Maturity Level Management Total Vehicle, Communication, Version 4.2</a:t>
            </a:r>
            <a:endParaRPr lang="en-US"/>
          </a:p>
        </p:txBody>
      </p:sp>
      <p:grpSp>
        <p:nvGrpSpPr>
          <p:cNvPr id="2" name="Gruppieren 70"/>
          <p:cNvGrpSpPr/>
          <p:nvPr/>
        </p:nvGrpSpPr>
        <p:grpSpPr>
          <a:xfrm>
            <a:off x="539552" y="1363975"/>
            <a:ext cx="7617375" cy="2209041"/>
            <a:chOff x="987073" y="1155913"/>
            <a:chExt cx="7617375" cy="2209041"/>
          </a:xfrm>
        </p:grpSpPr>
        <p:sp>
          <p:nvSpPr>
            <p:cNvPr id="335897" name="Rectangle 25"/>
            <p:cNvSpPr>
              <a:spLocks noChangeArrowheads="1"/>
            </p:cNvSpPr>
            <p:nvPr>
              <p:custDataLst>
                <p:tags r:id="rId4"/>
              </p:custDataLst>
            </p:nvPr>
          </p:nvSpPr>
          <p:spPr bwMode="auto">
            <a:xfrm>
              <a:off x="4410203" y="3067077"/>
              <a:ext cx="4028897" cy="292073"/>
            </a:xfrm>
            <a:prstGeom prst="rect">
              <a:avLst/>
            </a:prstGeom>
            <a:solidFill>
              <a:srgbClr val="FFFF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5899" name="Rectangle 27"/>
            <p:cNvSpPr>
              <a:spLocks noChangeArrowheads="1"/>
            </p:cNvSpPr>
            <p:nvPr>
              <p:custDataLst>
                <p:tags r:id="rId5"/>
              </p:custDataLst>
            </p:nvPr>
          </p:nvSpPr>
          <p:spPr bwMode="auto">
            <a:xfrm flipH="1">
              <a:off x="4470268" y="3081225"/>
              <a:ext cx="2270308" cy="153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BMW Group Condensed" pitchFamily="34" charset="0"/>
                  <a:cs typeface="Arial" pitchFamily="34" charset="0"/>
                </a:rPr>
                <a:t>Serial Development</a:t>
              </a:r>
              <a:r>
                <a:rPr kumimoji="0" lang="en-US" sz="1000" b="1" i="0" u="none" strike="noStrike" cap="none" normalizeH="0" smtClean="0">
                  <a:ln>
                    <a:noFill/>
                  </a:ln>
                  <a:solidFill>
                    <a:srgbClr val="000000"/>
                  </a:solidFill>
                  <a:effectLst/>
                  <a:latin typeface="BMW Group Condensed" pitchFamily="34" charset="0"/>
                  <a:cs typeface="Arial" pitchFamily="34" charset="0"/>
                </a:rPr>
                <a:t> Stage</a:t>
              </a:r>
              <a:endParaRPr kumimoji="0" lang="en-US" sz="1000" b="0" i="0" u="none" strike="noStrike" cap="none" normalizeH="0" baseline="0" smtClean="0">
                <a:ln>
                  <a:noFill/>
                </a:ln>
                <a:solidFill>
                  <a:schemeClr val="tx1"/>
                </a:solidFill>
                <a:effectLst/>
                <a:latin typeface="Arial" pitchFamily="34" charset="0"/>
                <a:cs typeface="Arial" pitchFamily="34" charset="0"/>
              </a:endParaRPr>
            </a:p>
          </p:txBody>
        </p:sp>
        <p:sp>
          <p:nvSpPr>
            <p:cNvPr id="335935" name="Rectangle 63"/>
            <p:cNvSpPr>
              <a:spLocks noChangeArrowheads="1"/>
            </p:cNvSpPr>
            <p:nvPr>
              <p:custDataLst>
                <p:tags r:id="rId6"/>
              </p:custDataLst>
            </p:nvPr>
          </p:nvSpPr>
          <p:spPr bwMode="auto">
            <a:xfrm>
              <a:off x="3305175" y="3067077"/>
              <a:ext cx="1085980" cy="292073"/>
            </a:xfrm>
            <a:prstGeom prst="rect">
              <a:avLst/>
            </a:prstGeom>
            <a:solidFill>
              <a:srgbClr val="FFC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5937" name="Rectangle 65"/>
            <p:cNvSpPr>
              <a:spLocks noChangeArrowheads="1"/>
            </p:cNvSpPr>
            <p:nvPr>
              <p:custDataLst>
                <p:tags r:id="rId7"/>
              </p:custDataLst>
            </p:nvPr>
          </p:nvSpPr>
          <p:spPr bwMode="auto">
            <a:xfrm>
              <a:off x="3382804" y="3100884"/>
              <a:ext cx="421590"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BMW Group Condensed" pitchFamily="34" charset="0"/>
                  <a:cs typeface="Arial" pitchFamily="34" charset="0"/>
                </a:rPr>
                <a:t>Product</a:t>
              </a:r>
              <a:endParaRPr kumimoji="0" lang="en-US" sz="1000" b="0" i="0" u="none" strike="noStrike" cap="none" normalizeH="0" baseline="0" smtClean="0">
                <a:ln>
                  <a:noFill/>
                </a:ln>
                <a:solidFill>
                  <a:schemeClr val="tx1"/>
                </a:solidFill>
                <a:effectLst/>
                <a:latin typeface="Arial" pitchFamily="34" charset="0"/>
                <a:cs typeface="Arial" pitchFamily="34" charset="0"/>
              </a:endParaRPr>
            </a:p>
          </p:txBody>
        </p:sp>
        <p:sp>
          <p:nvSpPr>
            <p:cNvPr id="335939" name="Rectangle 67"/>
            <p:cNvSpPr>
              <a:spLocks noChangeArrowheads="1"/>
            </p:cNvSpPr>
            <p:nvPr>
              <p:custDataLst>
                <p:tags r:id="rId8"/>
              </p:custDataLst>
            </p:nvPr>
          </p:nvSpPr>
          <p:spPr bwMode="auto">
            <a:xfrm>
              <a:off x="3373906" y="3211066"/>
              <a:ext cx="596317"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BMW Group Condensed" pitchFamily="34" charset="0"/>
                  <a:cs typeface="Arial" pitchFamily="34" charset="0"/>
                </a:rPr>
                <a:t>Draft Stage</a:t>
              </a:r>
              <a:endParaRPr kumimoji="0" lang="en-US" sz="1000" b="0" i="0" u="none" strike="noStrike" cap="none" normalizeH="0" baseline="0" smtClean="0">
                <a:ln>
                  <a:noFill/>
                </a:ln>
                <a:solidFill>
                  <a:schemeClr val="tx1"/>
                </a:solidFill>
                <a:effectLst/>
                <a:latin typeface="Arial" pitchFamily="34" charset="0"/>
                <a:cs typeface="Arial" pitchFamily="34" charset="0"/>
              </a:endParaRPr>
            </a:p>
          </p:txBody>
        </p:sp>
        <p:sp>
          <p:nvSpPr>
            <p:cNvPr id="335885" name="Rectangle 13"/>
            <p:cNvSpPr>
              <a:spLocks noChangeArrowheads="1"/>
            </p:cNvSpPr>
            <p:nvPr>
              <p:custDataLst>
                <p:tags r:id="rId9"/>
              </p:custDataLst>
            </p:nvPr>
          </p:nvSpPr>
          <p:spPr bwMode="auto">
            <a:xfrm>
              <a:off x="987073" y="3067076"/>
              <a:ext cx="738284" cy="292073"/>
            </a:xfrm>
            <a:prstGeom prst="rect">
              <a:avLst/>
            </a:prstGeom>
            <a:solidFill>
              <a:schemeClr val="accent3">
                <a:lumMod val="20000"/>
                <a:lumOff val="80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5887" name="Rectangle 15"/>
            <p:cNvSpPr>
              <a:spLocks noChangeArrowheads="1"/>
            </p:cNvSpPr>
            <p:nvPr>
              <p:custDataLst>
                <p:tags r:id="rId10"/>
              </p:custDataLst>
            </p:nvPr>
          </p:nvSpPr>
          <p:spPr bwMode="auto">
            <a:xfrm>
              <a:off x="1051893" y="3081776"/>
              <a:ext cx="487313"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BMW Group Condensed" pitchFamily="34" charset="0"/>
                  <a:cs typeface="Arial" pitchFamily="34" charset="0"/>
                </a:rPr>
                <a:t>Strategic</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p:txBody>
        </p:sp>
        <p:sp>
          <p:nvSpPr>
            <p:cNvPr id="335889" name="Rectangle 17"/>
            <p:cNvSpPr>
              <a:spLocks noChangeArrowheads="1"/>
            </p:cNvSpPr>
            <p:nvPr>
              <p:custDataLst>
                <p:tags r:id="rId11"/>
              </p:custDataLst>
            </p:nvPr>
          </p:nvSpPr>
          <p:spPr bwMode="auto">
            <a:xfrm>
              <a:off x="1037329" y="3207464"/>
              <a:ext cx="694101"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000000"/>
                  </a:solidFill>
                  <a:effectLst/>
                  <a:latin typeface="BMW Group Condensed" pitchFamily="34" charset="0"/>
                  <a:cs typeface="Arial" pitchFamily="34" charset="0"/>
                </a:rPr>
                <a:t>Development</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p:txBody>
        </p:sp>
        <p:sp>
          <p:nvSpPr>
            <p:cNvPr id="335892" name="Rectangle 20"/>
            <p:cNvSpPr>
              <a:spLocks noChangeArrowheads="1"/>
            </p:cNvSpPr>
            <p:nvPr>
              <p:custDataLst>
                <p:tags r:id="rId12"/>
              </p:custDataLst>
            </p:nvPr>
          </p:nvSpPr>
          <p:spPr bwMode="auto">
            <a:xfrm>
              <a:off x="1733024" y="3067076"/>
              <a:ext cx="646368" cy="292074"/>
            </a:xfrm>
            <a:prstGeom prst="rect">
              <a:avLst/>
            </a:prstGeom>
            <a:solidFill>
              <a:srgbClr val="E08585"/>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5894" name="Rectangle 22"/>
            <p:cNvSpPr>
              <a:spLocks noChangeArrowheads="1"/>
            </p:cNvSpPr>
            <p:nvPr>
              <p:custDataLst>
                <p:tags r:id="rId13"/>
              </p:custDataLst>
            </p:nvPr>
          </p:nvSpPr>
          <p:spPr bwMode="auto">
            <a:xfrm>
              <a:off x="1780000" y="3102354"/>
              <a:ext cx="301365"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BMW Group Condensed" pitchFamily="34" charset="0"/>
                  <a:cs typeface="Arial" pitchFamily="34" charset="0"/>
                </a:rPr>
                <a:t>Initial</a:t>
              </a:r>
              <a:endParaRPr kumimoji="0" lang="en-US" sz="1000" b="0" i="0" u="none" strike="noStrike" cap="none" normalizeH="0" baseline="0" smtClean="0">
                <a:ln>
                  <a:noFill/>
                </a:ln>
                <a:solidFill>
                  <a:schemeClr val="tx1"/>
                </a:solidFill>
                <a:effectLst/>
                <a:latin typeface="Arial" pitchFamily="34" charset="0"/>
                <a:cs typeface="Arial" pitchFamily="34" charset="0"/>
              </a:endParaRPr>
            </a:p>
          </p:txBody>
        </p:sp>
        <p:sp>
          <p:nvSpPr>
            <p:cNvPr id="335896" name="Rectangle 24"/>
            <p:cNvSpPr>
              <a:spLocks noChangeArrowheads="1"/>
            </p:cNvSpPr>
            <p:nvPr>
              <p:custDataLst>
                <p:tags r:id="rId14"/>
              </p:custDataLst>
            </p:nvPr>
          </p:nvSpPr>
          <p:spPr bwMode="auto">
            <a:xfrm>
              <a:off x="1773213" y="3211066"/>
              <a:ext cx="307777"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000" b="1" smtClean="0">
                  <a:solidFill>
                    <a:srgbClr val="000000"/>
                  </a:solidFill>
                  <a:latin typeface="BMW Group Condensed" pitchFamily="34" charset="0"/>
                  <a:cs typeface="Arial" pitchFamily="34" charset="0"/>
                </a:rPr>
                <a:t>Stage</a:t>
              </a:r>
              <a:endParaRPr kumimoji="0" lang="en-US" sz="1000" b="0" i="0" u="none" strike="noStrike" cap="none" normalizeH="0" baseline="0" smtClean="0">
                <a:ln>
                  <a:noFill/>
                </a:ln>
                <a:solidFill>
                  <a:schemeClr val="tx1"/>
                </a:solidFill>
                <a:effectLst/>
                <a:latin typeface="Arial" pitchFamily="34" charset="0"/>
                <a:cs typeface="Arial" pitchFamily="34" charset="0"/>
              </a:endParaRPr>
            </a:p>
          </p:txBody>
        </p:sp>
        <p:sp>
          <p:nvSpPr>
            <p:cNvPr id="335917" name="Rectangle 45"/>
            <p:cNvSpPr>
              <a:spLocks noChangeArrowheads="1"/>
            </p:cNvSpPr>
            <p:nvPr>
              <p:custDataLst>
                <p:tags r:id="rId15"/>
              </p:custDataLst>
            </p:nvPr>
          </p:nvSpPr>
          <p:spPr bwMode="auto">
            <a:xfrm>
              <a:off x="2402598" y="3067076"/>
              <a:ext cx="880530" cy="292073"/>
            </a:xfrm>
            <a:prstGeom prst="rect">
              <a:avLst/>
            </a:prstGeom>
            <a:solidFill>
              <a:srgbClr val="EBADA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5919" name="Rectangle 47"/>
            <p:cNvSpPr>
              <a:spLocks noChangeArrowheads="1"/>
            </p:cNvSpPr>
            <p:nvPr>
              <p:custDataLst>
                <p:tags r:id="rId16"/>
              </p:custDataLst>
            </p:nvPr>
          </p:nvSpPr>
          <p:spPr bwMode="auto">
            <a:xfrm>
              <a:off x="2474143" y="3102354"/>
              <a:ext cx="658835"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chemeClr val="tx1"/>
                  </a:solidFill>
                  <a:effectLst/>
                  <a:latin typeface="BMW Group Condensed" pitchFamily="34" charset="0"/>
                  <a:cs typeface="BMW Group" pitchFamily="2" charset="0"/>
                </a:rPr>
                <a:t>Architecture</a:t>
              </a:r>
            </a:p>
          </p:txBody>
        </p:sp>
        <p:sp>
          <p:nvSpPr>
            <p:cNvPr id="335921" name="Rectangle 49"/>
            <p:cNvSpPr>
              <a:spLocks noChangeArrowheads="1"/>
            </p:cNvSpPr>
            <p:nvPr>
              <p:custDataLst>
                <p:tags r:id="rId17"/>
              </p:custDataLst>
            </p:nvPr>
          </p:nvSpPr>
          <p:spPr bwMode="auto">
            <a:xfrm>
              <a:off x="2470200" y="3211066"/>
              <a:ext cx="596317" cy="15388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smtClean="0">
                  <a:ln>
                    <a:noFill/>
                  </a:ln>
                  <a:solidFill>
                    <a:srgbClr val="000000"/>
                  </a:solidFill>
                  <a:effectLst/>
                  <a:latin typeface="BMW Group Condensed" pitchFamily="34" charset="0"/>
                  <a:cs typeface="Arial" pitchFamily="34" charset="0"/>
                </a:rPr>
                <a:t>Draft </a:t>
              </a:r>
              <a:r>
                <a:rPr lang="en-US" sz="1000" b="1" smtClean="0">
                  <a:solidFill>
                    <a:srgbClr val="000000"/>
                  </a:solidFill>
                  <a:latin typeface="BMW Group Condensed" pitchFamily="34" charset="0"/>
                  <a:cs typeface="Arial" pitchFamily="34" charset="0"/>
                </a:rPr>
                <a:t>Stag</a:t>
              </a:r>
              <a:r>
                <a:rPr kumimoji="0" lang="en-US" sz="1000" b="1" i="0" u="none" strike="noStrike" cap="none" normalizeH="0" baseline="0" smtClean="0">
                  <a:ln>
                    <a:noFill/>
                  </a:ln>
                  <a:solidFill>
                    <a:srgbClr val="000000"/>
                  </a:solidFill>
                  <a:effectLst/>
                  <a:latin typeface="BMW Group Condensed" pitchFamily="34" charset="0"/>
                  <a:cs typeface="Arial" pitchFamily="34" charset="0"/>
                </a:rPr>
                <a:t>e</a:t>
              </a:r>
              <a:endParaRPr kumimoji="0" lang="en-US" sz="1000" b="0" i="0" u="none" strike="noStrike" cap="none" normalizeH="0" baseline="0" smtClean="0">
                <a:ln>
                  <a:noFill/>
                </a:ln>
                <a:solidFill>
                  <a:schemeClr val="tx1"/>
                </a:solidFill>
                <a:effectLst/>
                <a:latin typeface="Arial" pitchFamily="34" charset="0"/>
                <a:cs typeface="Arial" pitchFamily="34" charset="0"/>
              </a:endParaRPr>
            </a:p>
          </p:txBody>
        </p:sp>
        <p:grpSp>
          <p:nvGrpSpPr>
            <p:cNvPr id="3" name="Gruppieren 804"/>
            <p:cNvGrpSpPr/>
            <p:nvPr>
              <p:custDataLst>
                <p:tags r:id="rId18"/>
              </p:custDataLst>
            </p:nvPr>
          </p:nvGrpSpPr>
          <p:grpSpPr>
            <a:xfrm>
              <a:off x="7010729" y="2737379"/>
              <a:ext cx="634718" cy="564621"/>
              <a:chOff x="6825600" y="2300123"/>
              <a:chExt cx="1022400" cy="1082891"/>
            </a:xfrm>
          </p:grpSpPr>
          <p:sp>
            <p:nvSpPr>
              <p:cNvPr id="252" name="Ellipse 251"/>
              <p:cNvSpPr/>
              <p:nvPr/>
            </p:nvSpPr>
            <p:spPr>
              <a:xfrm>
                <a:off x="6961378" y="2414124"/>
                <a:ext cx="718018" cy="854914"/>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253" name="Gerade Verbindung 252"/>
              <p:cNvCxnSpPr/>
              <p:nvPr/>
            </p:nvCxnSpPr>
            <p:spPr>
              <a:xfrm>
                <a:off x="7321424" y="2300123"/>
                <a:ext cx="0" cy="1082891"/>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4" name="Gerade Verbindung 253"/>
              <p:cNvCxnSpPr/>
              <p:nvPr/>
            </p:nvCxnSpPr>
            <p:spPr>
              <a:xfrm flipH="1" flipV="1">
                <a:off x="6825600" y="2855728"/>
                <a:ext cx="1022400" cy="14401"/>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cxnSp>
          <p:nvCxnSpPr>
            <p:cNvPr id="287" name="Gerade Verbindung 286"/>
            <p:cNvCxnSpPr/>
            <p:nvPr>
              <p:custDataLst>
                <p:tags r:id="rId19"/>
              </p:custDataLst>
            </p:nvPr>
          </p:nvCxnSpPr>
          <p:spPr>
            <a:xfrm>
              <a:off x="1001545" y="1185253"/>
              <a:ext cx="0" cy="1857004"/>
            </a:xfrm>
            <a:prstGeom prst="line">
              <a:avLst/>
            </a:prstGeom>
            <a:ln w="190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8" name="Gerade Verbindung 287"/>
            <p:cNvCxnSpPr/>
            <p:nvPr>
              <p:custDataLst>
                <p:tags r:id="rId20"/>
              </p:custDataLst>
            </p:nvPr>
          </p:nvCxnSpPr>
          <p:spPr>
            <a:xfrm>
              <a:off x="1000125" y="3042257"/>
              <a:ext cx="7604323" cy="0"/>
            </a:xfrm>
            <a:prstGeom prst="line">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9" name="Freihandform 288"/>
            <p:cNvSpPr/>
            <p:nvPr>
              <p:custDataLst>
                <p:tags r:id="rId21"/>
              </p:custDataLst>
            </p:nvPr>
          </p:nvSpPr>
          <p:spPr>
            <a:xfrm>
              <a:off x="4111286" y="1661092"/>
              <a:ext cx="4327813" cy="1377383"/>
            </a:xfrm>
            <a:custGeom>
              <a:avLst/>
              <a:gdLst>
                <a:gd name="connsiteX0" fmla="*/ 0 w 3228975"/>
                <a:gd name="connsiteY0" fmla="*/ 1128712 h 1646237"/>
                <a:gd name="connsiteX1" fmla="*/ 542925 w 3228975"/>
                <a:gd name="connsiteY1" fmla="*/ 42862 h 1646237"/>
                <a:gd name="connsiteX2" fmla="*/ 1295400 w 3228975"/>
                <a:gd name="connsiteY2" fmla="*/ 1385887 h 1646237"/>
                <a:gd name="connsiteX3" fmla="*/ 3228975 w 3228975"/>
                <a:gd name="connsiteY3" fmla="*/ 1604962 h 1646237"/>
                <a:gd name="connsiteX4" fmla="*/ 3228975 w 3228975"/>
                <a:gd name="connsiteY4" fmla="*/ 1604962 h 1646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8975" h="1646237">
                  <a:moveTo>
                    <a:pt x="0" y="1128712"/>
                  </a:moveTo>
                  <a:cubicBezTo>
                    <a:pt x="163512" y="564356"/>
                    <a:pt x="327025" y="0"/>
                    <a:pt x="542925" y="42862"/>
                  </a:cubicBezTo>
                  <a:cubicBezTo>
                    <a:pt x="758825" y="85724"/>
                    <a:pt x="847725" y="1125537"/>
                    <a:pt x="1295400" y="1385887"/>
                  </a:cubicBezTo>
                  <a:cubicBezTo>
                    <a:pt x="1743075" y="1646237"/>
                    <a:pt x="3228975" y="1604962"/>
                    <a:pt x="3228975" y="1604962"/>
                  </a:cubicBezTo>
                  <a:lnTo>
                    <a:pt x="3228975" y="1604962"/>
                  </a:lnTo>
                </a:path>
              </a:pathLst>
            </a:cu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74" name="Gerade Verbindung mit Pfeil 73"/>
            <p:cNvCxnSpPr/>
            <p:nvPr>
              <p:custDataLst>
                <p:tags r:id="rId22"/>
              </p:custDataLst>
            </p:nvPr>
          </p:nvCxnSpPr>
          <p:spPr>
            <a:xfrm flipH="1">
              <a:off x="5092554" y="1891061"/>
              <a:ext cx="2465602" cy="0"/>
            </a:xfrm>
            <a:prstGeom prst="straightConnector1">
              <a:avLst/>
            </a:prstGeom>
            <a:ln w="19050">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78" name="Gerade Verbindung mit Pfeil 77"/>
            <p:cNvCxnSpPr/>
            <p:nvPr>
              <p:custDataLst>
                <p:tags r:id="rId23"/>
              </p:custDataLst>
            </p:nvPr>
          </p:nvCxnSpPr>
          <p:spPr>
            <a:xfrm flipH="1">
              <a:off x="5267678" y="2231644"/>
              <a:ext cx="2613112" cy="1"/>
            </a:xfrm>
            <a:prstGeom prst="straightConnector1">
              <a:avLst/>
            </a:prstGeom>
            <a:ln w="19050">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85" name="Gerade Verbindung mit Pfeil 84"/>
            <p:cNvCxnSpPr/>
            <p:nvPr>
              <p:custDataLst>
                <p:tags r:id="rId24"/>
              </p:custDataLst>
            </p:nvPr>
          </p:nvCxnSpPr>
          <p:spPr>
            <a:xfrm flipH="1">
              <a:off x="5474478" y="2513983"/>
              <a:ext cx="2553906" cy="0"/>
            </a:xfrm>
            <a:prstGeom prst="straightConnector1">
              <a:avLst/>
            </a:prstGeom>
            <a:ln w="19050">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90" name="Textfeld 89"/>
            <p:cNvSpPr txBox="1"/>
            <p:nvPr>
              <p:custDataLst>
                <p:tags r:id="rId25"/>
              </p:custDataLst>
            </p:nvPr>
          </p:nvSpPr>
          <p:spPr>
            <a:xfrm>
              <a:off x="5330460" y="1891061"/>
              <a:ext cx="886974" cy="338554"/>
            </a:xfrm>
            <a:prstGeom prst="rect">
              <a:avLst/>
            </a:prstGeom>
            <a:noFill/>
          </p:spPr>
          <p:txBody>
            <a:bodyPr wrap="none" rtlCol="0">
              <a:spAutoFit/>
            </a:bodyPr>
            <a:lstStyle/>
            <a:p>
              <a:r>
                <a:rPr lang="en-US" sz="1600" b="1" smtClean="0"/>
                <a:t>∆ Q, T, K</a:t>
              </a:r>
            </a:p>
          </p:txBody>
        </p:sp>
        <p:sp>
          <p:nvSpPr>
            <p:cNvPr id="290" name="Freihandform 289"/>
            <p:cNvSpPr/>
            <p:nvPr>
              <p:custDataLst>
                <p:tags r:id="rId26"/>
              </p:custDataLst>
            </p:nvPr>
          </p:nvSpPr>
          <p:spPr>
            <a:xfrm>
              <a:off x="4443457" y="1607372"/>
              <a:ext cx="3743948" cy="1245564"/>
            </a:xfrm>
            <a:custGeom>
              <a:avLst/>
              <a:gdLst>
                <a:gd name="connsiteX0" fmla="*/ 0 w 3238500"/>
                <a:gd name="connsiteY0" fmla="*/ 979487 h 1227137"/>
                <a:gd name="connsiteX1" fmla="*/ 1028700 w 3238500"/>
                <a:gd name="connsiteY1" fmla="*/ 7937 h 1227137"/>
                <a:gd name="connsiteX2" fmla="*/ 2028825 w 3238500"/>
                <a:gd name="connsiteY2" fmla="*/ 1027112 h 1227137"/>
                <a:gd name="connsiteX3" fmla="*/ 3238500 w 3238500"/>
                <a:gd name="connsiteY3" fmla="*/ 1208087 h 1227137"/>
              </a:gdLst>
              <a:ahLst/>
              <a:cxnLst>
                <a:cxn ang="0">
                  <a:pos x="connsiteX0" y="connsiteY0"/>
                </a:cxn>
                <a:cxn ang="0">
                  <a:pos x="connsiteX1" y="connsiteY1"/>
                </a:cxn>
                <a:cxn ang="0">
                  <a:pos x="connsiteX2" y="connsiteY2"/>
                </a:cxn>
                <a:cxn ang="0">
                  <a:pos x="connsiteX3" y="connsiteY3"/>
                </a:cxn>
              </a:cxnLst>
              <a:rect l="l" t="t" r="r" b="b"/>
              <a:pathLst>
                <a:path w="3238500" h="1227137">
                  <a:moveTo>
                    <a:pt x="0" y="979487"/>
                  </a:moveTo>
                  <a:cubicBezTo>
                    <a:pt x="345281" y="489743"/>
                    <a:pt x="690563" y="0"/>
                    <a:pt x="1028700" y="7937"/>
                  </a:cubicBezTo>
                  <a:cubicBezTo>
                    <a:pt x="1366837" y="15874"/>
                    <a:pt x="1660525" y="827087"/>
                    <a:pt x="2028825" y="1027112"/>
                  </a:cubicBezTo>
                  <a:cubicBezTo>
                    <a:pt x="2397125" y="1227137"/>
                    <a:pt x="2817812" y="1217612"/>
                    <a:pt x="3238500" y="1208087"/>
                  </a:cubicBezTo>
                </a:path>
              </a:pathLst>
            </a:custGeom>
            <a:ln w="28575">
              <a:solidFill>
                <a:srgbClr val="FFC000"/>
              </a:solidFill>
            </a:ln>
            <a:scene3d>
              <a:camera prst="orthographicFront">
                <a:rot lat="0" lon="10800000" rev="0"/>
              </a:camera>
              <a:lightRig rig="threePt" dir="t"/>
            </a:scene3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1" name="Textfeld 290"/>
            <p:cNvSpPr txBox="1"/>
            <p:nvPr>
              <p:custDataLst>
                <p:tags r:id="rId27"/>
              </p:custDataLst>
            </p:nvPr>
          </p:nvSpPr>
          <p:spPr>
            <a:xfrm>
              <a:off x="4470268" y="1362254"/>
              <a:ext cx="845424" cy="338554"/>
            </a:xfrm>
            <a:prstGeom prst="rect">
              <a:avLst/>
            </a:prstGeom>
            <a:noFill/>
          </p:spPr>
          <p:txBody>
            <a:bodyPr wrap="none" rtlCol="0">
              <a:spAutoFit/>
            </a:bodyPr>
            <a:lstStyle/>
            <a:p>
              <a:r>
                <a:rPr lang="en-US" sz="1600" smtClean="0">
                  <a:solidFill>
                    <a:srgbClr val="00B050"/>
                  </a:solidFill>
                </a:rPr>
                <a:t>TARGET</a:t>
              </a:r>
              <a:endParaRPr lang="en-US" sz="1600">
                <a:solidFill>
                  <a:srgbClr val="00B050"/>
                </a:solidFill>
              </a:endParaRPr>
            </a:p>
          </p:txBody>
        </p:sp>
        <p:sp>
          <p:nvSpPr>
            <p:cNvPr id="292" name="Textfeld 291"/>
            <p:cNvSpPr txBox="1"/>
            <p:nvPr>
              <p:custDataLst>
                <p:tags r:id="rId28"/>
              </p:custDataLst>
            </p:nvPr>
          </p:nvSpPr>
          <p:spPr>
            <a:xfrm>
              <a:off x="6869958" y="1268818"/>
              <a:ext cx="675185" cy="338554"/>
            </a:xfrm>
            <a:prstGeom prst="rect">
              <a:avLst/>
            </a:prstGeom>
            <a:noFill/>
          </p:spPr>
          <p:txBody>
            <a:bodyPr wrap="none" rtlCol="0">
              <a:spAutoFit/>
            </a:bodyPr>
            <a:lstStyle/>
            <a:p>
              <a:r>
                <a:rPr lang="en-US" sz="1600" smtClean="0">
                  <a:solidFill>
                    <a:schemeClr val="accent2"/>
                  </a:solidFill>
                </a:rPr>
                <a:t>Actual</a:t>
              </a:r>
              <a:endParaRPr lang="en-US" sz="1600">
                <a:solidFill>
                  <a:schemeClr val="accent2"/>
                </a:solidFill>
              </a:endParaRPr>
            </a:p>
          </p:txBody>
        </p:sp>
        <p:sp>
          <p:nvSpPr>
            <p:cNvPr id="72" name="Textfeld 71"/>
            <p:cNvSpPr txBox="1"/>
            <p:nvPr>
              <p:custDataLst>
                <p:tags r:id="rId29"/>
              </p:custDataLst>
            </p:nvPr>
          </p:nvSpPr>
          <p:spPr>
            <a:xfrm>
              <a:off x="987912" y="1155913"/>
              <a:ext cx="792088" cy="415498"/>
            </a:xfrm>
            <a:prstGeom prst="rect">
              <a:avLst/>
            </a:prstGeom>
            <a:noFill/>
          </p:spPr>
          <p:txBody>
            <a:bodyPr wrap="square" rtlCol="0">
              <a:spAutoFit/>
            </a:bodyPr>
            <a:lstStyle/>
            <a:p>
              <a:r>
                <a:rPr lang="en-US" sz="1050" b="1" smtClean="0"/>
                <a:t>Problem</a:t>
              </a:r>
            </a:p>
            <a:p>
              <a:r>
                <a:rPr lang="en-US" sz="1050" b="1" smtClean="0"/>
                <a:t>Areas</a:t>
              </a:r>
            </a:p>
          </p:txBody>
        </p:sp>
        <p:sp>
          <p:nvSpPr>
            <p:cNvPr id="69" name="Rechteck 68"/>
            <p:cNvSpPr/>
            <p:nvPr/>
          </p:nvSpPr>
          <p:spPr>
            <a:xfrm>
              <a:off x="7406098" y="2609215"/>
              <a:ext cx="622286" cy="369332"/>
            </a:xfrm>
            <a:prstGeom prst="rect">
              <a:avLst/>
            </a:prstGeom>
          </p:spPr>
          <p:txBody>
            <a:bodyPr wrap="none">
              <a:spAutoFit/>
            </a:bodyPr>
            <a:lstStyle/>
            <a:p>
              <a:r>
                <a:rPr lang="en-US" b="1" smtClean="0"/>
                <a:t>DOC</a:t>
              </a:r>
              <a:endParaRPr lang="en-US"/>
            </a:p>
          </p:txBody>
        </p:sp>
      </p:grpSp>
      <p:grpSp>
        <p:nvGrpSpPr>
          <p:cNvPr id="4" name="Gruppieren 80"/>
          <p:cNvGrpSpPr/>
          <p:nvPr/>
        </p:nvGrpSpPr>
        <p:grpSpPr>
          <a:xfrm>
            <a:off x="7110639" y="3232378"/>
            <a:ext cx="935115" cy="1589157"/>
            <a:chOff x="7315347" y="3045672"/>
            <a:chExt cx="963225" cy="1589157"/>
          </a:xfrm>
        </p:grpSpPr>
        <p:pic>
          <p:nvPicPr>
            <p:cNvPr id="263" name="Picture 3"/>
            <p:cNvPicPr>
              <a:picLocks noChangeAspect="1" noChangeArrowheads="1"/>
            </p:cNvPicPr>
            <p:nvPr>
              <p:custDataLst>
                <p:tags r:id="rId2"/>
              </p:custDataLst>
            </p:nvPr>
          </p:nvPicPr>
          <p:blipFill>
            <a:blip r:embed="rId33" cstate="print"/>
            <a:srcRect/>
            <a:stretch>
              <a:fillRect/>
            </a:stretch>
          </p:blipFill>
          <p:spPr bwMode="auto">
            <a:xfrm>
              <a:off x="7315347" y="3068960"/>
              <a:ext cx="351957" cy="1565869"/>
            </a:xfrm>
            <a:prstGeom prst="rect">
              <a:avLst/>
            </a:prstGeom>
            <a:noFill/>
            <a:ln w="9525">
              <a:noFill/>
              <a:miter lim="800000"/>
              <a:headEnd/>
              <a:tailEnd/>
            </a:ln>
          </p:spPr>
        </p:pic>
        <p:sp>
          <p:nvSpPr>
            <p:cNvPr id="65" name="Textfeld 64"/>
            <p:cNvSpPr txBox="1"/>
            <p:nvPr>
              <p:custDataLst>
                <p:tags r:id="rId3"/>
              </p:custDataLst>
            </p:nvPr>
          </p:nvSpPr>
          <p:spPr>
            <a:xfrm>
              <a:off x="7667301" y="3045672"/>
              <a:ext cx="611271" cy="338554"/>
            </a:xfrm>
            <a:prstGeom prst="rect">
              <a:avLst/>
            </a:prstGeom>
            <a:noFill/>
          </p:spPr>
          <p:txBody>
            <a:bodyPr wrap="none" rtlCol="0">
              <a:spAutoFit/>
            </a:bodyPr>
            <a:lstStyle/>
            <a:p>
              <a:r>
                <a:rPr lang="en-US" sz="1600" b="1" smtClean="0"/>
                <a:t>BI&gt;7</a:t>
              </a:r>
            </a:p>
          </p:txBody>
        </p:sp>
      </p:grpSp>
      <p:sp>
        <p:nvSpPr>
          <p:cNvPr id="66" name="Rechteck 65"/>
          <p:cNvSpPr/>
          <p:nvPr/>
        </p:nvSpPr>
        <p:spPr>
          <a:xfrm>
            <a:off x="7766695" y="2611436"/>
            <a:ext cx="606256" cy="369332"/>
          </a:xfrm>
          <a:prstGeom prst="rect">
            <a:avLst/>
          </a:prstGeom>
        </p:spPr>
        <p:txBody>
          <a:bodyPr wrap="none">
            <a:spAutoFit/>
          </a:bodyPr>
          <a:lstStyle/>
          <a:p>
            <a:r>
              <a:rPr lang="en-US" b="1" smtClean="0"/>
              <a:t>SOP</a:t>
            </a:r>
            <a:endParaRPr lang="en-US"/>
          </a:p>
        </p:txBody>
      </p:sp>
      <p:cxnSp>
        <p:nvCxnSpPr>
          <p:cNvPr id="59" name="Gerade Verbindung 58"/>
          <p:cNvCxnSpPr/>
          <p:nvPr/>
        </p:nvCxnSpPr>
        <p:spPr>
          <a:xfrm flipV="1">
            <a:off x="1063301" y="3023667"/>
            <a:ext cx="2274611" cy="155401"/>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68" name="Bogen 67"/>
          <p:cNvSpPr/>
          <p:nvPr/>
        </p:nvSpPr>
        <p:spPr>
          <a:xfrm rot="5400000">
            <a:off x="2715102" y="2060182"/>
            <a:ext cx="737381" cy="1246961"/>
          </a:xfrm>
          <a:prstGeom prst="arc">
            <a:avLst>
              <a:gd name="adj1" fmla="val 16881024"/>
              <a:gd name="adj2" fmla="val 19444684"/>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7" name="Rechteck 56"/>
          <p:cNvSpPr/>
          <p:nvPr/>
        </p:nvSpPr>
        <p:spPr>
          <a:xfrm>
            <a:off x="468313" y="3744936"/>
            <a:ext cx="6477990" cy="2893100"/>
          </a:xfrm>
          <a:prstGeom prst="rect">
            <a:avLst/>
          </a:prstGeom>
        </p:spPr>
        <p:txBody>
          <a:bodyPr wrap="square">
            <a:spAutoFit/>
          </a:bodyPr>
          <a:lstStyle/>
          <a:p>
            <a:pPr marL="273050" indent="-273050">
              <a:spcBef>
                <a:spcPts val="600"/>
              </a:spcBef>
              <a:buFont typeface="Wingdings" pitchFamily="2" charset="2"/>
              <a:buChar char="§"/>
            </a:pPr>
            <a:r>
              <a:rPr lang="en-US" dirty="0" smtClean="0"/>
              <a:t>Predefined </a:t>
            </a:r>
            <a:r>
              <a:rPr lang="en-US" b="1" dirty="0" smtClean="0"/>
              <a:t>Target Maturity-Goals </a:t>
            </a:r>
            <a:r>
              <a:rPr lang="en-US" dirty="0" smtClean="0"/>
              <a:t>for the specific maturity gates are </a:t>
            </a:r>
            <a:r>
              <a:rPr lang="en-US" smtClean="0"/>
              <a:t>defined contentually </a:t>
            </a:r>
            <a:r>
              <a:rPr lang="en-US" dirty="0" smtClean="0"/>
              <a:t>in an EMT context and are objectively measurable .</a:t>
            </a:r>
          </a:p>
          <a:p>
            <a:pPr marL="273050" indent="-273050">
              <a:spcBef>
                <a:spcPts val="600"/>
              </a:spcBef>
              <a:buFont typeface="Wingdings" pitchFamily="2" charset="2"/>
              <a:buChar char="§"/>
            </a:pPr>
            <a:r>
              <a:rPr lang="en-US" b="1" dirty="0" smtClean="0">
                <a:sym typeface="Wingdings" pitchFamily="2" charset="2"/>
              </a:rPr>
              <a:t>Transparent Maturity-Verification </a:t>
            </a:r>
            <a:r>
              <a:rPr lang="en-US" dirty="0" smtClean="0">
                <a:sym typeface="Wingdings" pitchFamily="2" charset="2"/>
              </a:rPr>
              <a:t>by </a:t>
            </a:r>
            <a:r>
              <a:rPr lang="en-US" b="1" dirty="0" smtClean="0">
                <a:sym typeface="Wingdings" pitchFamily="2" charset="2"/>
              </a:rPr>
              <a:t>continuous testing </a:t>
            </a:r>
            <a:r>
              <a:rPr lang="en-US" dirty="0" smtClean="0">
                <a:sym typeface="Wingdings" pitchFamily="2" charset="2"/>
              </a:rPr>
              <a:t>of  subsystem- and total vehicle-features per maturity gates.</a:t>
            </a:r>
          </a:p>
          <a:p>
            <a:pPr marL="273050" indent="-273050">
              <a:spcBef>
                <a:spcPts val="600"/>
              </a:spcBef>
              <a:buFont typeface="Wingdings" pitchFamily="2" charset="2"/>
              <a:buChar char="§"/>
            </a:pPr>
            <a:r>
              <a:rPr lang="en-US" dirty="0" smtClean="0"/>
              <a:t>Every variance from the target is listed in the</a:t>
            </a:r>
            <a:r>
              <a:rPr lang="en-US" b="1" dirty="0" smtClean="0"/>
              <a:t> risk and measures management</a:t>
            </a:r>
            <a:r>
              <a:rPr lang="en-US" dirty="0" smtClean="0"/>
              <a:t>.</a:t>
            </a:r>
          </a:p>
          <a:p>
            <a:pPr marL="273050" indent="-273050">
              <a:spcBef>
                <a:spcPts val="600"/>
              </a:spcBef>
              <a:buFont typeface="Wingdings" pitchFamily="2" charset="2"/>
              <a:buChar char="§"/>
            </a:pPr>
            <a:r>
              <a:rPr lang="en-US" b="1" smtClean="0"/>
              <a:t>Predefined Maturity Goals </a:t>
            </a:r>
            <a:r>
              <a:rPr lang="en-US" dirty="0" smtClean="0"/>
              <a:t>will be fulfilled to defined maturity gates.</a:t>
            </a:r>
          </a:p>
          <a:p>
            <a:pPr marL="273050" indent="-273050">
              <a:spcBef>
                <a:spcPts val="600"/>
              </a:spcBef>
              <a:buFont typeface="Wingdings" pitchFamily="2" charset="2"/>
              <a:buChar char="§"/>
            </a:pPr>
            <a:r>
              <a:rPr lang="en-US" b="1" dirty="0" smtClean="0"/>
              <a:t>Empowerment DOC Maturity </a:t>
            </a:r>
            <a:r>
              <a:rPr lang="en-US" dirty="0" smtClean="0"/>
              <a:t>by reinforcement ramp-up plant.</a:t>
            </a:r>
          </a:p>
        </p:txBody>
      </p:sp>
      <p:sp>
        <p:nvSpPr>
          <p:cNvPr id="43" name="Textfeld 42"/>
          <p:cNvSpPr txBox="1"/>
          <p:nvPr/>
        </p:nvSpPr>
        <p:spPr>
          <a:xfrm>
            <a:off x="468312" y="1052736"/>
            <a:ext cx="8208963" cy="369332"/>
          </a:xfrm>
          <a:prstGeom prst="rect">
            <a:avLst/>
          </a:prstGeom>
          <a:noFill/>
        </p:spPr>
        <p:txBody>
          <a:bodyPr wrap="square" lIns="0" rtlCol="0">
            <a:spAutoFit/>
          </a:bodyPr>
          <a:lstStyle/>
          <a:p>
            <a:r>
              <a:rPr lang="en-US" smtClean="0"/>
              <a:t>Significant  improvement of time, quality and costs.</a:t>
            </a:r>
            <a:endParaRPr lang="de-DE" b="1" cap="all" dirty="0" smtClean="0"/>
          </a:p>
        </p:txBody>
      </p:sp>
      <p:sp>
        <p:nvSpPr>
          <p:cNvPr id="44" name="Foliennummernplatzhalter 27"/>
          <p:cNvSpPr txBox="1">
            <a:spLocks/>
          </p:cNvSpPr>
          <p:nvPr/>
        </p:nvSpPr>
        <p:spPr>
          <a:xfrm>
            <a:off x="6553200" y="6528871"/>
            <a:ext cx="2124075" cy="329130"/>
          </a:xfrm>
          <a:prstGeom prst="rect">
            <a:avLst/>
          </a:prstGeom>
        </p:spPr>
        <p:txBody>
          <a:bodyPr vert="horz"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chemeClr val="tx1"/>
                </a:solidFill>
                <a:effectLst/>
                <a:uLnTx/>
                <a:uFillTx/>
                <a:latin typeface="+mn-lt"/>
                <a:ea typeface="+mn-ea"/>
                <a:cs typeface="+mn-cs"/>
              </a:rPr>
              <a:t>Slide </a:t>
            </a:r>
            <a:fld id="{AA807A42-CF27-4B84-8583-18EBE418342E}" type="slidenum">
              <a:rPr kumimoji="0" lang="de-DE"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9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p:nvGraphicFramePr>
        <p:xfrm>
          <a:off x="1587" y="1588"/>
          <a:ext cx="1587" cy="1587"/>
        </p:xfrm>
        <a:graphic>
          <a:graphicData uri="http://schemas.openxmlformats.org/presentationml/2006/ole">
            <p:oleObj spid="_x0000_s21506" name="think-cell Folie" r:id="rId3" imgW="270" imgH="270" progId="TCLayout.ActiveDocument.1">
              <p:embed/>
            </p:oleObj>
          </a:graphicData>
        </a:graphic>
      </p:graphicFrame>
      <p:sp>
        <p:nvSpPr>
          <p:cNvPr id="16" name="Rechteck 15"/>
          <p:cNvSpPr/>
          <p:nvPr/>
        </p:nvSpPr>
        <p:spPr>
          <a:xfrm>
            <a:off x="453384" y="4882348"/>
            <a:ext cx="8208000" cy="612000"/>
          </a:xfrm>
          <a:prstGeom prst="rect">
            <a:avLst/>
          </a:prstGeom>
          <a:solidFill>
            <a:schemeClr val="bg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algn="just"/>
            <a:r>
              <a:rPr lang="en-US" sz="1400" smtClean="0">
                <a:solidFill>
                  <a:schemeClr val="tx1"/>
                </a:solidFill>
                <a:latin typeface="BMW Group Condensed" pitchFamily="34" charset="0"/>
              </a:rPr>
              <a:t>Maturity elements are KIFA-components and total vehicle features/ functions across the E, M, and T divisions (e.g. acoustics, passive safety, assembly, installation and manufacturability). </a:t>
            </a:r>
          </a:p>
        </p:txBody>
      </p:sp>
      <p:sp>
        <p:nvSpPr>
          <p:cNvPr id="15" name="Rechteck 14"/>
          <p:cNvSpPr/>
          <p:nvPr/>
        </p:nvSpPr>
        <p:spPr>
          <a:xfrm>
            <a:off x="453384" y="3848600"/>
            <a:ext cx="8208000" cy="612000"/>
          </a:xfrm>
          <a:prstGeom prst="rect">
            <a:avLst/>
          </a:prstGeom>
          <a:solidFill>
            <a:schemeClr val="bg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algn="just"/>
            <a:r>
              <a:rPr lang="en-US" sz="1400" smtClean="0">
                <a:solidFill>
                  <a:schemeClr val="tx1"/>
                </a:solidFill>
                <a:latin typeface="BMW Group Condensed" pitchFamily="34" charset="0"/>
              </a:rPr>
              <a:t>The function of the maturity level is to define the product and process maturity and is scaled from RG 0 to RG 6, by analogy with the E/E-process chain.</a:t>
            </a:r>
            <a:endParaRPr lang="de-DE" sz="1400" dirty="0">
              <a:solidFill>
                <a:schemeClr val="tx1"/>
              </a:solidFill>
              <a:latin typeface="BMW Group Condensed" pitchFamily="34" charset="0"/>
            </a:endParaRPr>
          </a:p>
        </p:txBody>
      </p:sp>
      <p:sp>
        <p:nvSpPr>
          <p:cNvPr id="14" name="Rechteck 13"/>
          <p:cNvSpPr/>
          <p:nvPr/>
        </p:nvSpPr>
        <p:spPr>
          <a:xfrm>
            <a:off x="453384" y="2490852"/>
            <a:ext cx="8208000" cy="936000"/>
          </a:xfrm>
          <a:prstGeom prst="rect">
            <a:avLst/>
          </a:prstGeom>
          <a:solidFill>
            <a:schemeClr val="bg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algn="just"/>
            <a:r>
              <a:rPr lang="en-US" sz="1400" dirty="0" smtClean="0">
                <a:solidFill>
                  <a:schemeClr val="tx1"/>
                </a:solidFill>
                <a:latin typeface="BMW Group Condensed" pitchFamily="34" charset="0"/>
              </a:rPr>
              <a:t>A maturity step is an agreed baseline across all process chains, in which the agreed state of development is established, confirmed, and released for this specific time frame.</a:t>
            </a:r>
            <a:endParaRPr lang="de-DE" sz="1400" dirty="0" smtClean="0">
              <a:solidFill>
                <a:schemeClr val="tx1"/>
              </a:solidFill>
              <a:latin typeface="BMW Group Condensed" pitchFamily="34" charset="0"/>
            </a:endParaRPr>
          </a:p>
          <a:p>
            <a:pPr marL="85725" algn="just"/>
            <a:endParaRPr lang="de-DE" sz="1400" dirty="0" smtClean="0">
              <a:solidFill>
                <a:schemeClr val="tx1"/>
              </a:solidFill>
              <a:latin typeface="BMW Group Condensed" pitchFamily="34" charset="0"/>
            </a:endParaRPr>
          </a:p>
          <a:p>
            <a:pPr marL="85725" algn="just"/>
            <a:r>
              <a:rPr lang="en-US" sz="1400" dirty="0" smtClean="0">
                <a:solidFill>
                  <a:schemeClr val="tx1"/>
                </a:solidFill>
                <a:latin typeface="BMW Group Condensed" pitchFamily="34" charset="0"/>
              </a:rPr>
              <a:t>Maturity steps will be realized to clearly defined time frames in </a:t>
            </a:r>
            <a:r>
              <a:rPr lang="en-US" sz="1400" dirty="0" err="1" smtClean="0">
                <a:solidFill>
                  <a:schemeClr val="tx1"/>
                </a:solidFill>
                <a:latin typeface="BMW Group Condensed" pitchFamily="34" charset="0"/>
              </a:rPr>
              <a:t>ItO</a:t>
            </a:r>
            <a:r>
              <a:rPr lang="en-US" sz="1400" dirty="0" smtClean="0">
                <a:solidFill>
                  <a:schemeClr val="tx1"/>
                </a:solidFill>
                <a:latin typeface="BMW Group Condensed" pitchFamily="34" charset="0"/>
              </a:rPr>
              <a:t>.</a:t>
            </a:r>
            <a:endParaRPr lang="de-DE" sz="1400" dirty="0">
              <a:latin typeface="BMW Group Condensed" pitchFamily="34" charset="0"/>
            </a:endParaRPr>
          </a:p>
        </p:txBody>
      </p:sp>
      <p:sp>
        <p:nvSpPr>
          <p:cNvPr id="4" name="Textplatzhalter 3"/>
          <p:cNvSpPr>
            <a:spLocks noGrp="1"/>
          </p:cNvSpPr>
          <p:nvPr>
            <p:ph type="body" sz="quarter" idx="13"/>
          </p:nvPr>
        </p:nvSpPr>
        <p:spPr/>
        <p:txBody>
          <a:bodyPr/>
          <a:lstStyle/>
          <a:p>
            <a:r>
              <a:rPr lang="en-US" dirty="0" smtClean="0"/>
              <a:t>Maturity Level Management defines</a:t>
            </a:r>
          </a:p>
          <a:p>
            <a:r>
              <a:rPr lang="en-US" dirty="0" smtClean="0"/>
              <a:t>Maturity step, level, Element and</a:t>
            </a:r>
            <a:r>
              <a:rPr lang="en-US" dirty="0" smtClean="0">
                <a:solidFill>
                  <a:schemeClr val="tx1"/>
                </a:solidFill>
              </a:rPr>
              <a:t> </a:t>
            </a:r>
            <a:br>
              <a:rPr lang="en-US" dirty="0" smtClean="0">
                <a:solidFill>
                  <a:schemeClr val="tx1"/>
                </a:solidFill>
              </a:rPr>
            </a:br>
            <a:r>
              <a:rPr lang="en-US" dirty="0" smtClean="0"/>
              <a:t>progress.</a:t>
            </a:r>
            <a:endParaRPr lang="en-US" dirty="0"/>
          </a:p>
        </p:txBody>
      </p:sp>
      <p:sp>
        <p:nvSpPr>
          <p:cNvPr id="9" name="Rechteck 8"/>
          <p:cNvSpPr/>
          <p:nvPr/>
        </p:nvSpPr>
        <p:spPr>
          <a:xfrm>
            <a:off x="453384" y="3439726"/>
            <a:ext cx="8208000" cy="396000"/>
          </a:xfrm>
          <a:prstGeom prst="rect">
            <a:avLst/>
          </a:prstGeom>
          <a:solidFill>
            <a:schemeClr val="bg2">
              <a:lumMod val="75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450850" indent="-269875"/>
            <a:r>
              <a:rPr lang="en-US" b="1" smtClean="0">
                <a:solidFill>
                  <a:schemeClr val="bg1"/>
                </a:solidFill>
              </a:rPr>
              <a:t>Maturity Level </a:t>
            </a:r>
            <a:r>
              <a:rPr lang="en-US" sz="1600" smtClean="0">
                <a:solidFill>
                  <a:schemeClr val="bg1">
                    <a:lumMod val="85000"/>
                  </a:schemeClr>
                </a:solidFill>
                <a:sym typeface="Wingdings"/>
              </a:rPr>
              <a:t> Which contentual demand has to be fulfilled?</a:t>
            </a:r>
            <a:endParaRPr lang="en-US" sz="1600" dirty="0" smtClean="0">
              <a:solidFill>
                <a:schemeClr val="bg1">
                  <a:lumMod val="85000"/>
                </a:schemeClr>
              </a:solidFill>
            </a:endParaRPr>
          </a:p>
        </p:txBody>
      </p:sp>
      <p:sp>
        <p:nvSpPr>
          <p:cNvPr id="12" name="Rechteck 11"/>
          <p:cNvSpPr/>
          <p:nvPr/>
        </p:nvSpPr>
        <p:spPr>
          <a:xfrm flipH="1">
            <a:off x="453384" y="4473474"/>
            <a:ext cx="8208000" cy="396000"/>
          </a:xfrm>
          <a:prstGeom prst="rect">
            <a:avLst/>
          </a:prstGeom>
          <a:solidFill>
            <a:schemeClr val="bg2">
              <a:lumMod val="75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450850" indent="-269875"/>
            <a:r>
              <a:rPr lang="en-US" b="1" smtClean="0">
                <a:solidFill>
                  <a:schemeClr val="bg1"/>
                </a:solidFill>
              </a:rPr>
              <a:t>Maturity Element</a:t>
            </a:r>
            <a:r>
              <a:rPr lang="en-US" b="1" smtClean="0">
                <a:solidFill>
                  <a:schemeClr val="bg1"/>
                </a:solidFill>
                <a:sym typeface="Wingdings"/>
              </a:rPr>
              <a:t> </a:t>
            </a:r>
            <a:r>
              <a:rPr lang="en-US" sz="1600" smtClean="0">
                <a:solidFill>
                  <a:schemeClr val="bg1">
                    <a:lumMod val="85000"/>
                  </a:schemeClr>
                </a:solidFill>
                <a:sym typeface="Wingdings"/>
              </a:rPr>
              <a:t> What will be measured?</a:t>
            </a:r>
            <a:endParaRPr lang="en-US" sz="1600" smtClean="0">
              <a:solidFill>
                <a:schemeClr val="bg1">
                  <a:lumMod val="85000"/>
                </a:schemeClr>
              </a:solidFill>
            </a:endParaRPr>
          </a:p>
        </p:txBody>
      </p:sp>
      <p:sp>
        <p:nvSpPr>
          <p:cNvPr id="17" name="Rechteck 16"/>
          <p:cNvSpPr/>
          <p:nvPr/>
        </p:nvSpPr>
        <p:spPr>
          <a:xfrm>
            <a:off x="453384" y="1421104"/>
            <a:ext cx="8208000" cy="648000"/>
          </a:xfrm>
          <a:prstGeom prst="rect">
            <a:avLst/>
          </a:prstGeom>
          <a:solidFill>
            <a:schemeClr val="bg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just"/>
            <a:r>
              <a:rPr lang="de-DE" sz="1400" i="1" dirty="0" err="1" smtClean="0">
                <a:solidFill>
                  <a:schemeClr val="tx1"/>
                </a:solidFill>
              </a:rPr>
              <a:t>By</a:t>
            </a:r>
            <a:r>
              <a:rPr lang="de-DE" sz="1400" i="1" dirty="0" smtClean="0">
                <a:solidFill>
                  <a:schemeClr val="tx1"/>
                </a:solidFill>
              </a:rPr>
              <a:t> </a:t>
            </a:r>
            <a:r>
              <a:rPr lang="de-DE" sz="1400" i="1" dirty="0" err="1" smtClean="0">
                <a:solidFill>
                  <a:schemeClr val="tx1"/>
                </a:solidFill>
              </a:rPr>
              <a:t>analogy</a:t>
            </a:r>
            <a:r>
              <a:rPr lang="de-DE" sz="1400" i="1" dirty="0" smtClean="0">
                <a:solidFill>
                  <a:schemeClr val="tx1"/>
                </a:solidFill>
              </a:rPr>
              <a:t> </a:t>
            </a:r>
            <a:r>
              <a:rPr lang="de-DE" sz="1400" i="1" dirty="0" err="1" smtClean="0">
                <a:solidFill>
                  <a:schemeClr val="tx1"/>
                </a:solidFill>
              </a:rPr>
              <a:t>with</a:t>
            </a:r>
            <a:r>
              <a:rPr lang="de-DE" sz="1400" i="1" dirty="0" smtClean="0">
                <a:solidFill>
                  <a:schemeClr val="tx1"/>
                </a:solidFill>
              </a:rPr>
              <a:t> </a:t>
            </a:r>
            <a:r>
              <a:rPr lang="de-DE" sz="1400" i="1" dirty="0" err="1" smtClean="0">
                <a:solidFill>
                  <a:schemeClr val="tx1"/>
                </a:solidFill>
              </a:rPr>
              <a:t>established</a:t>
            </a:r>
            <a:r>
              <a:rPr lang="de-DE" sz="1400" i="1" dirty="0" smtClean="0">
                <a:solidFill>
                  <a:schemeClr val="tx1"/>
                </a:solidFill>
              </a:rPr>
              <a:t> I-</a:t>
            </a:r>
            <a:r>
              <a:rPr lang="de-DE" sz="1400" i="1" dirty="0" err="1" smtClean="0">
                <a:solidFill>
                  <a:schemeClr val="tx1"/>
                </a:solidFill>
              </a:rPr>
              <a:t>steps</a:t>
            </a:r>
            <a:r>
              <a:rPr lang="de-DE" sz="1400" i="1" dirty="0" smtClean="0">
                <a:solidFill>
                  <a:schemeClr val="tx1"/>
                </a:solidFill>
              </a:rPr>
              <a:t> </a:t>
            </a:r>
            <a:r>
              <a:rPr lang="de-DE" sz="1400" i="1" dirty="0" err="1" smtClean="0">
                <a:solidFill>
                  <a:schemeClr val="tx1"/>
                </a:solidFill>
              </a:rPr>
              <a:t>of</a:t>
            </a:r>
            <a:r>
              <a:rPr lang="de-DE" sz="1400" i="1" dirty="0" smtClean="0">
                <a:solidFill>
                  <a:schemeClr val="tx1"/>
                </a:solidFill>
              </a:rPr>
              <a:t> </a:t>
            </a:r>
            <a:r>
              <a:rPr lang="de-DE" sz="1400" i="1" dirty="0" err="1" smtClean="0">
                <a:solidFill>
                  <a:schemeClr val="tx1"/>
                </a:solidFill>
              </a:rPr>
              <a:t>process</a:t>
            </a:r>
            <a:r>
              <a:rPr lang="de-DE" sz="1400" i="1" dirty="0" smtClean="0">
                <a:solidFill>
                  <a:schemeClr val="tx1"/>
                </a:solidFill>
              </a:rPr>
              <a:t> </a:t>
            </a:r>
            <a:r>
              <a:rPr lang="de-DE" sz="1400" i="1" dirty="0" err="1" smtClean="0">
                <a:solidFill>
                  <a:schemeClr val="tx1"/>
                </a:solidFill>
              </a:rPr>
              <a:t>chain</a:t>
            </a:r>
            <a:r>
              <a:rPr lang="de-DE" sz="1400" i="1" dirty="0" smtClean="0">
                <a:solidFill>
                  <a:schemeClr val="tx1"/>
                </a:solidFill>
              </a:rPr>
              <a:t> E/E, </a:t>
            </a:r>
            <a:r>
              <a:rPr lang="de-DE" sz="1400" i="1" dirty="0" err="1" smtClean="0">
                <a:solidFill>
                  <a:schemeClr val="tx1"/>
                </a:solidFill>
              </a:rPr>
              <a:t>there</a:t>
            </a:r>
            <a:r>
              <a:rPr lang="de-DE" sz="1400" i="1" dirty="0" smtClean="0">
                <a:solidFill>
                  <a:schemeClr val="tx1"/>
                </a:solidFill>
              </a:rPr>
              <a:t> will </a:t>
            </a:r>
            <a:r>
              <a:rPr lang="de-DE" sz="1400" i="1" dirty="0" err="1" smtClean="0">
                <a:solidFill>
                  <a:schemeClr val="tx1"/>
                </a:solidFill>
              </a:rPr>
              <a:t>be</a:t>
            </a:r>
            <a:r>
              <a:rPr lang="de-DE" sz="1400" i="1" dirty="0" smtClean="0">
                <a:solidFill>
                  <a:schemeClr val="tx1"/>
                </a:solidFill>
              </a:rPr>
              <a:t> in </a:t>
            </a:r>
            <a:r>
              <a:rPr lang="de-DE" sz="1400" i="1" dirty="0" err="1" smtClean="0">
                <a:solidFill>
                  <a:schemeClr val="tx1"/>
                </a:solidFill>
              </a:rPr>
              <a:t>future</a:t>
            </a:r>
            <a:r>
              <a:rPr lang="de-DE" sz="1400" i="1" dirty="0" smtClean="0">
                <a:solidFill>
                  <a:schemeClr val="tx1"/>
                </a:solidFill>
              </a:rPr>
              <a:t> an EMT </a:t>
            </a:r>
            <a:r>
              <a:rPr lang="de-DE" sz="1400" i="1" dirty="0" err="1" smtClean="0">
                <a:solidFill>
                  <a:schemeClr val="tx1"/>
                </a:solidFill>
              </a:rPr>
              <a:t>Maturity</a:t>
            </a:r>
            <a:r>
              <a:rPr lang="de-DE" sz="1400" i="1" dirty="0" smtClean="0">
                <a:solidFill>
                  <a:schemeClr val="tx1"/>
                </a:solidFill>
              </a:rPr>
              <a:t> Level Management </a:t>
            </a:r>
            <a:r>
              <a:rPr lang="de-DE" sz="1400" i="1" dirty="0" err="1" smtClean="0">
                <a:solidFill>
                  <a:schemeClr val="tx1"/>
                </a:solidFill>
              </a:rPr>
              <a:t>covering</a:t>
            </a:r>
            <a:r>
              <a:rPr lang="de-DE" sz="1400" i="1" dirty="0" smtClean="0">
                <a:solidFill>
                  <a:schemeClr val="tx1"/>
                </a:solidFill>
              </a:rPr>
              <a:t> all total </a:t>
            </a:r>
            <a:r>
              <a:rPr lang="de-DE" sz="1400" i="1" dirty="0" err="1" smtClean="0">
                <a:solidFill>
                  <a:schemeClr val="tx1"/>
                </a:solidFill>
              </a:rPr>
              <a:t>vehicle</a:t>
            </a:r>
            <a:r>
              <a:rPr lang="de-DE" sz="1400" i="1" dirty="0" smtClean="0">
                <a:solidFill>
                  <a:schemeClr val="tx1"/>
                </a:solidFill>
              </a:rPr>
              <a:t> </a:t>
            </a:r>
            <a:r>
              <a:rPr lang="de-DE" sz="1400" i="1" dirty="0" err="1" smtClean="0">
                <a:solidFill>
                  <a:schemeClr val="tx1"/>
                </a:solidFill>
              </a:rPr>
              <a:t>features</a:t>
            </a:r>
            <a:r>
              <a:rPr lang="de-DE" sz="1400" i="1" dirty="0" smtClean="0">
                <a:solidFill>
                  <a:schemeClr val="tx1"/>
                </a:solidFill>
              </a:rPr>
              <a:t>, </a:t>
            </a:r>
            <a:r>
              <a:rPr lang="de-DE" sz="1400" i="1" dirty="0" err="1" smtClean="0">
                <a:solidFill>
                  <a:schemeClr val="tx1"/>
                </a:solidFill>
              </a:rPr>
              <a:t>customer</a:t>
            </a:r>
            <a:r>
              <a:rPr lang="de-DE" sz="1400" i="1" dirty="0" smtClean="0">
                <a:solidFill>
                  <a:schemeClr val="tx1"/>
                </a:solidFill>
              </a:rPr>
              <a:t> </a:t>
            </a:r>
            <a:r>
              <a:rPr lang="de-DE" sz="1400" i="1" dirty="0" err="1" smtClean="0">
                <a:solidFill>
                  <a:schemeClr val="tx1"/>
                </a:solidFill>
              </a:rPr>
              <a:t>functions</a:t>
            </a:r>
            <a:r>
              <a:rPr lang="de-DE" sz="1400" i="1" dirty="0" smtClean="0">
                <a:solidFill>
                  <a:schemeClr val="tx1"/>
                </a:solidFill>
              </a:rPr>
              <a:t> </a:t>
            </a:r>
            <a:r>
              <a:rPr lang="de-DE" sz="1400" i="1" dirty="0" err="1" smtClean="0">
                <a:solidFill>
                  <a:schemeClr val="tx1"/>
                </a:solidFill>
              </a:rPr>
              <a:t>and</a:t>
            </a:r>
            <a:r>
              <a:rPr lang="de-DE" sz="1400" i="1" dirty="0" smtClean="0">
                <a:solidFill>
                  <a:schemeClr val="tx1"/>
                </a:solidFill>
              </a:rPr>
              <a:t> </a:t>
            </a:r>
            <a:r>
              <a:rPr lang="de-DE" sz="1400" i="1" dirty="0" err="1" smtClean="0">
                <a:solidFill>
                  <a:schemeClr val="tx1"/>
                </a:solidFill>
              </a:rPr>
              <a:t>components</a:t>
            </a:r>
            <a:r>
              <a:rPr lang="de-DE" sz="1400" i="1" dirty="0" smtClean="0">
                <a:solidFill>
                  <a:schemeClr val="tx1"/>
                </a:solidFill>
              </a:rPr>
              <a:t> </a:t>
            </a:r>
            <a:r>
              <a:rPr lang="de-DE" sz="1400" i="1" dirty="0" err="1" smtClean="0">
                <a:solidFill>
                  <a:schemeClr val="tx1"/>
                </a:solidFill>
              </a:rPr>
              <a:t>with</a:t>
            </a:r>
            <a:r>
              <a:rPr lang="de-DE" sz="1400" i="1" dirty="0" smtClean="0">
                <a:solidFill>
                  <a:schemeClr val="tx1"/>
                </a:solidFill>
              </a:rPr>
              <a:t> </a:t>
            </a:r>
            <a:r>
              <a:rPr lang="de-DE" sz="1400" i="1" dirty="0" err="1" smtClean="0">
                <a:solidFill>
                  <a:schemeClr val="tx1"/>
                </a:solidFill>
              </a:rPr>
              <a:t>maturity</a:t>
            </a:r>
            <a:r>
              <a:rPr lang="de-DE" sz="1400" i="1" dirty="0" smtClean="0">
                <a:solidFill>
                  <a:schemeClr val="tx1"/>
                </a:solidFill>
              </a:rPr>
              <a:t> </a:t>
            </a:r>
            <a:r>
              <a:rPr lang="de-DE" sz="1400" i="1" dirty="0" err="1" smtClean="0">
                <a:solidFill>
                  <a:schemeClr val="tx1"/>
                </a:solidFill>
              </a:rPr>
              <a:t>steps</a:t>
            </a:r>
            <a:r>
              <a:rPr lang="de-DE" sz="1400" i="1" dirty="0" smtClean="0">
                <a:solidFill>
                  <a:schemeClr val="tx1"/>
                </a:solidFill>
              </a:rPr>
              <a:t> </a:t>
            </a:r>
            <a:r>
              <a:rPr lang="de-DE" sz="1400" i="1" dirty="0" err="1" smtClean="0">
                <a:solidFill>
                  <a:schemeClr val="tx1"/>
                </a:solidFill>
              </a:rPr>
              <a:t>and</a:t>
            </a:r>
            <a:r>
              <a:rPr lang="de-DE" sz="1400" i="1" dirty="0" smtClean="0">
                <a:solidFill>
                  <a:schemeClr val="tx1"/>
                </a:solidFill>
              </a:rPr>
              <a:t> </a:t>
            </a:r>
            <a:r>
              <a:rPr lang="de-DE" sz="1400" i="1" dirty="0" err="1" smtClean="0">
                <a:solidFill>
                  <a:schemeClr val="tx1"/>
                </a:solidFill>
              </a:rPr>
              <a:t>related</a:t>
            </a:r>
            <a:r>
              <a:rPr lang="de-DE" sz="1400" i="1" dirty="0" smtClean="0">
                <a:solidFill>
                  <a:schemeClr val="tx1"/>
                </a:solidFill>
              </a:rPr>
              <a:t> </a:t>
            </a:r>
            <a:r>
              <a:rPr lang="de-DE" sz="1400" i="1" dirty="0" err="1" smtClean="0">
                <a:solidFill>
                  <a:schemeClr val="tx1"/>
                </a:solidFill>
              </a:rPr>
              <a:t>maturity</a:t>
            </a:r>
            <a:r>
              <a:rPr lang="de-DE" sz="1400" i="1" dirty="0" smtClean="0">
                <a:solidFill>
                  <a:schemeClr val="tx1"/>
                </a:solidFill>
              </a:rPr>
              <a:t> </a:t>
            </a:r>
            <a:r>
              <a:rPr lang="de-DE" sz="1400" i="1" dirty="0" err="1" smtClean="0">
                <a:solidFill>
                  <a:schemeClr val="tx1"/>
                </a:solidFill>
              </a:rPr>
              <a:t>levels</a:t>
            </a:r>
            <a:r>
              <a:rPr lang="de-DE" sz="1400" i="1" dirty="0" smtClean="0">
                <a:solidFill>
                  <a:schemeClr val="tx1"/>
                </a:solidFill>
              </a:rPr>
              <a:t>.</a:t>
            </a:r>
          </a:p>
        </p:txBody>
      </p:sp>
      <p:sp>
        <p:nvSpPr>
          <p:cNvPr id="19" name="Rechteck 18"/>
          <p:cNvSpPr/>
          <p:nvPr/>
        </p:nvSpPr>
        <p:spPr>
          <a:xfrm>
            <a:off x="453384" y="5916093"/>
            <a:ext cx="8208000" cy="612000"/>
          </a:xfrm>
          <a:prstGeom prst="rect">
            <a:avLst/>
          </a:prstGeom>
          <a:solidFill>
            <a:schemeClr val="bg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0">
              <a:defRPr/>
            </a:pPr>
            <a:r>
              <a:rPr lang="en-US" sz="1400" kern="0" dirty="0" smtClean="0">
                <a:solidFill>
                  <a:sysClr val="windowText" lastClr="000000"/>
                </a:solidFill>
                <a:latin typeface="BMW Group Condensed" pitchFamily="34" charset="0"/>
              </a:rPr>
              <a:t>The maturity progress is the development of the maturity along a defined time frame, e.g. between maturity step x and x+1.  </a:t>
            </a:r>
            <a:r>
              <a:rPr lang="de-DE" sz="1400" kern="0" dirty="0" smtClean="0">
                <a:solidFill>
                  <a:sysClr val="windowText" lastClr="000000"/>
                </a:solidFill>
                <a:latin typeface="BMW Group Condensed" pitchFamily="34" charset="0"/>
              </a:rPr>
              <a:t>  </a:t>
            </a:r>
          </a:p>
        </p:txBody>
      </p:sp>
      <p:sp>
        <p:nvSpPr>
          <p:cNvPr id="21" name="Rechteck 20"/>
          <p:cNvSpPr/>
          <p:nvPr/>
        </p:nvSpPr>
        <p:spPr>
          <a:xfrm flipH="1">
            <a:off x="453384" y="5507222"/>
            <a:ext cx="8208000" cy="396000"/>
          </a:xfrm>
          <a:prstGeom prst="rect">
            <a:avLst/>
          </a:prstGeom>
          <a:solidFill>
            <a:schemeClr val="bg2">
              <a:lumMod val="75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450850" indent="-269875"/>
            <a:r>
              <a:rPr lang="en-US" b="1" smtClean="0">
                <a:solidFill>
                  <a:schemeClr val="bg1"/>
                </a:solidFill>
              </a:rPr>
              <a:t>Maturity Progress </a:t>
            </a:r>
            <a:r>
              <a:rPr lang="en-US" sz="1600" smtClean="0">
                <a:solidFill>
                  <a:schemeClr val="bg1">
                    <a:lumMod val="85000"/>
                  </a:schemeClr>
                </a:solidFill>
                <a:sym typeface="Wingdings"/>
              </a:rPr>
              <a:t> How strong is the maturity‘s improvement over time?</a:t>
            </a:r>
            <a:endParaRPr lang="en-US" sz="1600" dirty="0" smtClean="0">
              <a:solidFill>
                <a:schemeClr val="bg1">
                  <a:lumMod val="85000"/>
                </a:schemeClr>
              </a:solidFill>
            </a:endParaRPr>
          </a:p>
        </p:txBody>
      </p:sp>
      <p:sp>
        <p:nvSpPr>
          <p:cNvPr id="8" name="Rechteck 7"/>
          <p:cNvSpPr/>
          <p:nvPr/>
        </p:nvSpPr>
        <p:spPr>
          <a:xfrm>
            <a:off x="453384" y="2081978"/>
            <a:ext cx="8208000" cy="396000"/>
          </a:xfrm>
          <a:prstGeom prst="rect">
            <a:avLst/>
          </a:prstGeom>
          <a:solidFill>
            <a:schemeClr val="bg2">
              <a:lumMod val="75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450850" indent="-269875"/>
            <a:r>
              <a:rPr lang="en-US" b="1" dirty="0" smtClean="0">
                <a:solidFill>
                  <a:schemeClr val="bg1"/>
                </a:solidFill>
              </a:rPr>
              <a:t>Maturity Step </a:t>
            </a:r>
            <a:r>
              <a:rPr lang="en-US" sz="1600" dirty="0" smtClean="0">
                <a:solidFill>
                  <a:schemeClr val="bg1">
                    <a:lumMod val="85000"/>
                  </a:schemeClr>
                </a:solidFill>
                <a:sym typeface="Wingdings"/>
              </a:rPr>
              <a:t> When will be measured?</a:t>
            </a:r>
            <a:endParaRPr lang="en-US" sz="1600" dirty="0" smtClean="0">
              <a:solidFill>
                <a:schemeClr val="bg1">
                  <a:lumMod val="85000"/>
                </a:schemeClr>
              </a:solidFill>
            </a:endParaRPr>
          </a:p>
        </p:txBody>
      </p:sp>
      <p:sp>
        <p:nvSpPr>
          <p:cNvPr id="23" name="Fußzeilenplatzhalter 22"/>
          <p:cNvSpPr>
            <a:spLocks noGrp="1"/>
          </p:cNvSpPr>
          <p:nvPr>
            <p:ph type="ftr" sz="quarter" idx="10"/>
          </p:nvPr>
        </p:nvSpPr>
        <p:spPr>
          <a:xfrm>
            <a:off x="468313" y="6526213"/>
            <a:ext cx="4106862" cy="331787"/>
          </a:xfrm>
        </p:spPr>
        <p:txBody>
          <a:bodyPr/>
          <a:lstStyle/>
          <a:p>
            <a:pPr algn="l"/>
            <a:r>
              <a:rPr lang="de-DE" smtClean="0"/>
              <a:t>Maturity Level Management Total Vehicle, Communication, Version 4.2</a:t>
            </a:r>
            <a:endParaRPr lang="de-DE" dirty="0"/>
          </a:p>
        </p:txBody>
      </p:sp>
      <p:sp>
        <p:nvSpPr>
          <p:cNvPr id="22" name="Foliennummernplatzhalter 27"/>
          <p:cNvSpPr txBox="1">
            <a:spLocks/>
          </p:cNvSpPr>
          <p:nvPr/>
        </p:nvSpPr>
        <p:spPr>
          <a:xfrm>
            <a:off x="6553200" y="6528871"/>
            <a:ext cx="2124075" cy="329130"/>
          </a:xfrm>
          <a:prstGeom prst="rect">
            <a:avLst/>
          </a:prstGeom>
        </p:spPr>
        <p:txBody>
          <a:bodyPr vert="horz" lIns="0" tIns="0" rIns="0" bIns="0" rtlCol="0" anchor="ctr"/>
          <a:lstStyle/>
          <a:p>
            <a:pPr lvl="0" algn="r">
              <a:defRPr/>
            </a:pPr>
            <a:r>
              <a:rPr lang="de-DE" sz="900" smtClean="0"/>
              <a:t>Slide </a:t>
            </a:r>
            <a:fld id="{AA807A42-CF27-4B84-8583-18EBE418342E}" type="slidenum">
              <a:rPr kumimoji="0" lang="de-DE" sz="900" b="0" i="0" u="none" strike="noStrike" kern="1200" cap="none" spc="0" normalizeH="0" baseline="0" noProof="0" smtClean="0">
                <a:ln>
                  <a:noFill/>
                </a:ln>
                <a:solidFill>
                  <a:schemeClr val="tx1"/>
                </a:solidFill>
                <a:effectLst/>
                <a:uLnTx/>
                <a:uFillTx/>
                <a:latin typeface="+mn-lt"/>
                <a:ea typeface="+mn-ea"/>
                <a:cs typeface="+mn-cs"/>
              </a:rPr>
              <a:pPr lvl="0" algn="r">
                <a:defRPr/>
              </a:pPr>
              <a:t>6</a:t>
            </a:fld>
            <a:endParaRPr kumimoji="0" lang="de-DE" sz="9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p:cNvSpPr>
            <a:spLocks noGrp="1"/>
          </p:cNvSpPr>
          <p:nvPr>
            <p:ph type="ftr" sz="quarter" idx="10"/>
          </p:nvPr>
        </p:nvSpPr>
        <p:spPr/>
        <p:txBody>
          <a:bodyPr/>
          <a:lstStyle/>
          <a:p>
            <a:pPr algn="l"/>
            <a:r>
              <a:rPr lang="de-DE" smtClean="0">
                <a:solidFill>
                  <a:prstClr val="black"/>
                </a:solidFill>
              </a:rPr>
              <a:t>Maturity Level Management Total Vehicle, Communication, Version 4.2</a:t>
            </a:r>
            <a:endParaRPr lang="de-DE" dirty="0">
              <a:solidFill>
                <a:prstClr val="black"/>
              </a:solidFill>
            </a:endParaRPr>
          </a:p>
        </p:txBody>
      </p:sp>
      <p:sp>
        <p:nvSpPr>
          <p:cNvPr id="7" name="Textplatzhalter 6"/>
          <p:cNvSpPr>
            <a:spLocks noGrp="1"/>
          </p:cNvSpPr>
          <p:nvPr>
            <p:ph type="body" sz="quarter" idx="14"/>
          </p:nvPr>
        </p:nvSpPr>
        <p:spPr/>
        <p:txBody>
          <a:bodyPr/>
          <a:lstStyle/>
          <a:p>
            <a:endParaRPr lang="de-DE"/>
          </a:p>
        </p:txBody>
      </p:sp>
      <p:sp>
        <p:nvSpPr>
          <p:cNvPr id="4" name="Textplatzhalter 3"/>
          <p:cNvSpPr>
            <a:spLocks noGrp="1"/>
          </p:cNvSpPr>
          <p:nvPr>
            <p:ph type="body" sz="quarter" idx="13"/>
          </p:nvPr>
        </p:nvSpPr>
        <p:spPr/>
        <p:txBody>
          <a:bodyPr/>
          <a:lstStyle/>
          <a:p>
            <a:r>
              <a:rPr lang="en-US" smtClean="0"/>
              <a:t>EMT Maturity level - Definition and Scale.</a:t>
            </a:r>
            <a:endParaRPr lang="de-DE" dirty="0"/>
          </a:p>
        </p:txBody>
      </p:sp>
      <p:graphicFrame>
        <p:nvGraphicFramePr>
          <p:cNvPr id="10" name="Tabelle 9"/>
          <p:cNvGraphicFramePr>
            <a:graphicFrameLocks noGrp="1"/>
          </p:cNvGraphicFramePr>
          <p:nvPr>
            <p:custDataLst>
              <p:tags r:id="rId1"/>
            </p:custDataLst>
          </p:nvPr>
        </p:nvGraphicFramePr>
        <p:xfrm>
          <a:off x="468313" y="972712"/>
          <a:ext cx="8208962" cy="5662329"/>
        </p:xfrm>
        <a:graphic>
          <a:graphicData uri="http://schemas.openxmlformats.org/drawingml/2006/table">
            <a:tbl>
              <a:tblPr firstRow="1" bandRow="1">
                <a:tableStyleId>{2D5ABB26-0587-4C30-8999-92F81FD0307C}</a:tableStyleId>
              </a:tblPr>
              <a:tblGrid>
                <a:gridCol w="1441195"/>
                <a:gridCol w="6767767"/>
              </a:tblGrid>
              <a:tr h="749769">
                <a:tc>
                  <a:txBody>
                    <a:bodyPr/>
                    <a:lstStyle/>
                    <a:p>
                      <a:pPr algn="ctr"/>
                      <a:r>
                        <a:rPr lang="de-DE" sz="1400" b="1" dirty="0" err="1" smtClean="0">
                          <a:solidFill>
                            <a:schemeClr val="bg1"/>
                          </a:solidFill>
                        </a:rPr>
                        <a:t>Maturity</a:t>
                      </a:r>
                      <a:r>
                        <a:rPr lang="de-DE" sz="1400" b="1" dirty="0" smtClean="0">
                          <a:solidFill>
                            <a:schemeClr val="bg1"/>
                          </a:solidFill>
                        </a:rPr>
                        <a:t> </a:t>
                      </a:r>
                      <a:r>
                        <a:rPr lang="de-DE" sz="1400" b="1" dirty="0" err="1" smtClean="0">
                          <a:solidFill>
                            <a:schemeClr val="bg1"/>
                          </a:solidFill>
                        </a:rPr>
                        <a:t>level</a:t>
                      </a:r>
                      <a:r>
                        <a:rPr lang="de-DE" sz="1400" b="1" dirty="0" smtClean="0">
                          <a:solidFill>
                            <a:schemeClr val="bg1"/>
                          </a:solidFill>
                        </a:rPr>
                        <a:t> 0</a:t>
                      </a:r>
                      <a:endParaRPr lang="de-DE" sz="1400" b="1" dirty="0">
                        <a:solidFill>
                          <a:schemeClr val="bg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600" b="1" u="sng" dirty="0" err="1" smtClean="0">
                          <a:solidFill>
                            <a:schemeClr val="tx1"/>
                          </a:solidFill>
                          <a:latin typeface="BMWTypeRegular" pitchFamily="34" charset="0"/>
                        </a:rPr>
                        <a:t>Maturity</a:t>
                      </a:r>
                      <a:r>
                        <a:rPr lang="de-DE" sz="600" b="1" u="sng" dirty="0" smtClean="0">
                          <a:solidFill>
                            <a:schemeClr val="tx1"/>
                          </a:solidFill>
                          <a:latin typeface="BMWTypeRegular" pitchFamily="34" charset="0"/>
                        </a:rPr>
                        <a:t> </a:t>
                      </a:r>
                      <a:r>
                        <a:rPr lang="de-DE" sz="600" b="1" u="sng" dirty="0" err="1" smtClean="0">
                          <a:solidFill>
                            <a:schemeClr val="tx1"/>
                          </a:solidFill>
                          <a:latin typeface="BMWTypeRegular" pitchFamily="34" charset="0"/>
                        </a:rPr>
                        <a:t>aspects</a:t>
                      </a:r>
                      <a:r>
                        <a:rPr lang="de-DE" sz="600" b="1" u="sng" dirty="0" smtClean="0">
                          <a:solidFill>
                            <a:schemeClr val="tx1"/>
                          </a:solidFill>
                          <a:latin typeface="BMWTypeRegular" pitchFamily="34" charset="0"/>
                        </a:rPr>
                        <a:t> </a:t>
                      </a:r>
                      <a:r>
                        <a:rPr lang="de-DE" sz="600" b="1" u="sng" dirty="0" err="1" smtClean="0">
                          <a:solidFill>
                            <a:schemeClr val="tx1"/>
                          </a:solidFill>
                          <a:latin typeface="BMWTypeRegular" pitchFamily="34" charset="0"/>
                        </a:rPr>
                        <a:t>concerning</a:t>
                      </a:r>
                      <a:r>
                        <a:rPr lang="de-DE" sz="600" b="1" u="sng" dirty="0" smtClean="0">
                          <a:solidFill>
                            <a:schemeClr val="tx1"/>
                          </a:solidFill>
                          <a:latin typeface="BMWTypeRegular" pitchFamily="34" charset="0"/>
                        </a:rPr>
                        <a:t> </a:t>
                      </a:r>
                      <a:r>
                        <a:rPr lang="de-DE" sz="600" b="1" u="sng" dirty="0" err="1" smtClean="0">
                          <a:solidFill>
                            <a:schemeClr val="tx1"/>
                          </a:solidFill>
                          <a:latin typeface="BMWTypeRegular" pitchFamily="34" charset="0"/>
                        </a:rPr>
                        <a:t>product</a:t>
                      </a:r>
                      <a:r>
                        <a:rPr lang="de-DE" sz="600" b="1" u="sng" baseline="0" dirty="0" smtClean="0">
                          <a:solidFill>
                            <a:schemeClr val="tx1"/>
                          </a:solidFill>
                          <a:latin typeface="BMWTypeRegular" pitchFamily="34" charset="0"/>
                        </a:rPr>
                        <a:t> </a:t>
                      </a:r>
                      <a:r>
                        <a:rPr lang="de-DE" sz="600" b="1" u="sng" baseline="0" dirty="0" err="1" smtClean="0">
                          <a:solidFill>
                            <a:schemeClr val="tx1"/>
                          </a:solidFill>
                          <a:latin typeface="BMWTypeRegular" pitchFamily="34" charset="0"/>
                        </a:rPr>
                        <a:t>implementation</a:t>
                      </a:r>
                      <a:r>
                        <a:rPr lang="de-DE" sz="600" b="1" u="sng" baseline="0" dirty="0" smtClean="0">
                          <a:solidFill>
                            <a:schemeClr val="tx1"/>
                          </a:solidFill>
                          <a:latin typeface="BMWTypeRegular" pitchFamily="34" charset="0"/>
                        </a:rPr>
                        <a:t>: </a:t>
                      </a:r>
                      <a:endParaRPr lang="de-DE" sz="600" b="1" u="sng" dirty="0" smtClean="0">
                        <a:solidFill>
                          <a:schemeClr val="tx1"/>
                        </a:solidFill>
                        <a:latin typeface="BMWTypeRegular"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600" b="0" u="none" dirty="0" smtClean="0">
                          <a:solidFill>
                            <a:schemeClr val="tx1"/>
                          </a:solidFill>
                          <a:latin typeface="BMWTypeRegular" pitchFamily="34" charset="0"/>
                        </a:rPr>
                        <a:t>- </a:t>
                      </a:r>
                      <a:r>
                        <a:rPr lang="de-DE" sz="600" b="0" u="none" dirty="0" err="1" smtClean="0">
                          <a:solidFill>
                            <a:schemeClr val="tx1"/>
                          </a:solidFill>
                          <a:latin typeface="BMWTypeRegular" pitchFamily="34" charset="0"/>
                        </a:rPr>
                        <a:t>No</a:t>
                      </a:r>
                      <a:r>
                        <a:rPr lang="de-DE" sz="600" b="0" u="none" dirty="0" smtClean="0">
                          <a:solidFill>
                            <a:schemeClr val="tx1"/>
                          </a:solidFill>
                          <a:latin typeface="BMWTypeRegular" pitchFamily="34" charset="0"/>
                        </a:rPr>
                        <a:t> </a:t>
                      </a:r>
                      <a:r>
                        <a:rPr lang="de-DE" sz="600" b="0" u="none" dirty="0" err="1" smtClean="0">
                          <a:solidFill>
                            <a:schemeClr val="tx1"/>
                          </a:solidFill>
                          <a:latin typeface="BMWTypeRegular" pitchFamily="34" charset="0"/>
                        </a:rPr>
                        <a:t>implementation</a:t>
                      </a:r>
                      <a:r>
                        <a:rPr lang="de-DE" sz="600" b="0" u="none" dirty="0" smtClean="0">
                          <a:solidFill>
                            <a:schemeClr val="tx1"/>
                          </a:solidFill>
                          <a:latin typeface="BMWTypeRegular" pitchFamily="34" charset="0"/>
                        </a:rPr>
                        <a:t>.</a:t>
                      </a:r>
                    </a:p>
                    <a:p>
                      <a:pPr marL="0" marR="0" indent="0" algn="l" defTabSz="914400" rtl="0" eaLnBrk="1" fontAlgn="auto" latinLnBrk="0" hangingPunct="1">
                        <a:lnSpc>
                          <a:spcPct val="100000"/>
                        </a:lnSpc>
                        <a:spcBef>
                          <a:spcPts val="0"/>
                        </a:spcBef>
                        <a:spcAft>
                          <a:spcPts val="0"/>
                        </a:spcAft>
                        <a:buClrTx/>
                        <a:buSzTx/>
                        <a:buFontTx/>
                        <a:buChar char="-"/>
                        <a:tabLst/>
                        <a:defRPr/>
                      </a:pPr>
                      <a:r>
                        <a:rPr lang="de-DE" sz="600" b="0" u="none" dirty="0" smtClean="0">
                          <a:solidFill>
                            <a:schemeClr val="tx1"/>
                          </a:solidFill>
                          <a:latin typeface="BMWTypeRegular" pitchFamily="34" charset="0"/>
                        </a:rPr>
                        <a:t> </a:t>
                      </a:r>
                      <a:r>
                        <a:rPr lang="de-DE" sz="600" b="0" u="none" dirty="0" err="1" smtClean="0">
                          <a:solidFill>
                            <a:schemeClr val="tx1"/>
                          </a:solidFill>
                          <a:latin typeface="BMWTypeRegular" pitchFamily="34" charset="0"/>
                        </a:rPr>
                        <a:t>No</a:t>
                      </a:r>
                      <a:r>
                        <a:rPr lang="de-DE" sz="600" b="0" u="none" dirty="0" smtClean="0">
                          <a:solidFill>
                            <a:schemeClr val="tx1"/>
                          </a:solidFill>
                          <a:latin typeface="BMWTypeRegular" pitchFamily="34" charset="0"/>
                        </a:rPr>
                        <a:t> </a:t>
                      </a:r>
                      <a:r>
                        <a:rPr lang="de-DE" sz="600" b="0" u="none" dirty="0" err="1" smtClean="0">
                          <a:solidFill>
                            <a:schemeClr val="tx1"/>
                          </a:solidFill>
                          <a:latin typeface="BMWTypeRegular" pitchFamily="34" charset="0"/>
                        </a:rPr>
                        <a:t>driving</a:t>
                      </a:r>
                      <a:r>
                        <a:rPr lang="de-DE" sz="600" b="0" u="none" dirty="0" smtClean="0">
                          <a:solidFill>
                            <a:schemeClr val="tx1"/>
                          </a:solidFill>
                          <a:latin typeface="BMWTypeRegular" pitchFamily="34" charset="0"/>
                        </a:rPr>
                        <a:t> </a:t>
                      </a:r>
                      <a:r>
                        <a:rPr lang="de-DE" sz="600" b="0" u="none" dirty="0" err="1" smtClean="0">
                          <a:solidFill>
                            <a:schemeClr val="tx1"/>
                          </a:solidFill>
                          <a:latin typeface="BMWTypeRegular" pitchFamily="34" charset="0"/>
                        </a:rPr>
                        <a:t>permission</a:t>
                      </a:r>
                      <a:r>
                        <a:rPr lang="de-DE" sz="600" b="0" u="none" baseline="0" dirty="0" smtClean="0">
                          <a:solidFill>
                            <a:schemeClr val="tx1"/>
                          </a:solidFill>
                          <a:latin typeface="BMWTypeRegular" pitchFamily="34" charset="0"/>
                        </a:rPr>
                        <a:t> </a:t>
                      </a:r>
                      <a:r>
                        <a:rPr lang="de-DE" sz="600" b="0" u="none" dirty="0" smtClean="0">
                          <a:solidFill>
                            <a:schemeClr val="tx1"/>
                          </a:solidFill>
                          <a:latin typeface="BMWTypeRegular" pitchFamily="34" charset="0"/>
                        </a:rPr>
                        <a:t>(</a:t>
                      </a:r>
                      <a:r>
                        <a:rPr lang="de-DE" sz="600" b="0" u="none" dirty="0" err="1" smtClean="0">
                          <a:solidFill>
                            <a:schemeClr val="tx1"/>
                          </a:solidFill>
                          <a:latin typeface="BMWTypeRegular" pitchFamily="34" charset="0"/>
                        </a:rPr>
                        <a:t>stage</a:t>
                      </a:r>
                      <a:r>
                        <a:rPr lang="de-DE" sz="600" b="0" u="none" baseline="0" dirty="0" smtClean="0">
                          <a:solidFill>
                            <a:schemeClr val="tx1"/>
                          </a:solidFill>
                          <a:latin typeface="BMWTypeRegular" pitchFamily="34" charset="0"/>
                        </a:rPr>
                        <a:t> </a:t>
                      </a:r>
                      <a:r>
                        <a:rPr lang="de-DE" sz="600" b="0" u="none" dirty="0" smtClean="0">
                          <a:solidFill>
                            <a:schemeClr val="tx1"/>
                          </a:solidFill>
                          <a:latin typeface="BMWTypeRegular" pitchFamily="34" charset="0"/>
                        </a:rPr>
                        <a:t>0).</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1" i="0" u="sng" strike="noStrike" kern="1200" dirty="0" err="1" smtClean="0">
                          <a:solidFill>
                            <a:schemeClr val="accent6"/>
                          </a:solidFill>
                          <a:latin typeface="BMWTypeRegular" pitchFamily="34" charset="0"/>
                          <a:ea typeface="+mn-ea"/>
                          <a:cs typeface="+mn-cs"/>
                        </a:rPr>
                        <a:t>Maturity</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aspects</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concerning</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process</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requirements</a:t>
                      </a:r>
                      <a:r>
                        <a:rPr lang="de-DE" sz="600" b="1" i="0" u="sng" strike="noStrike" kern="1200" dirty="0" smtClean="0">
                          <a:solidFill>
                            <a:schemeClr val="accent6"/>
                          </a:solidFill>
                          <a:latin typeface="BMWTypeRegular" pitchFamily="34" charset="0"/>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kern="1200" dirty="0" smtClean="0">
                          <a:solidFill>
                            <a:schemeClr val="accent6"/>
                          </a:solidFill>
                          <a:latin typeface="BMWTypeRegular" pitchFamily="34" charset="0"/>
                          <a:ea typeface="+mn-ea"/>
                          <a:cs typeface="+mn-cs"/>
                        </a:rPr>
                        <a:t>- Strategic </a:t>
                      </a:r>
                      <a:r>
                        <a:rPr lang="de-DE" sz="600" b="0" i="0" u="none" strike="noStrike" kern="1200" dirty="0" err="1" smtClean="0">
                          <a:solidFill>
                            <a:schemeClr val="accent6"/>
                          </a:solidFill>
                          <a:latin typeface="BMWTypeRegular" pitchFamily="34" charset="0"/>
                          <a:ea typeface="+mn-ea"/>
                          <a:cs typeface="+mn-cs"/>
                        </a:rPr>
                        <a:t>goals</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are</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defined</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and</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consistent</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to</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each</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other</a:t>
                      </a:r>
                      <a:r>
                        <a:rPr lang="de-DE" sz="600" b="0" i="0" u="none" strike="noStrike" kern="1200" dirty="0" smtClean="0">
                          <a:solidFill>
                            <a:schemeClr val="accent6"/>
                          </a:solidFill>
                          <a:latin typeface="BMWTypeRegular" pitchFamily="34" charset="0"/>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kern="1200" dirty="0" smtClean="0">
                          <a:solidFill>
                            <a:schemeClr val="accent6"/>
                          </a:solidFill>
                          <a:latin typeface="BMWTypeRegular" pitchFamily="34" charset="0"/>
                          <a:ea typeface="+mn-ea"/>
                          <a:cs typeface="+mn-cs"/>
                        </a:rPr>
                        <a:t>- Interactions </a:t>
                      </a:r>
                      <a:r>
                        <a:rPr lang="de-DE" sz="600" b="0" i="0" u="none" strike="noStrike" kern="1200" dirty="0" err="1" smtClean="0">
                          <a:solidFill>
                            <a:schemeClr val="accent6"/>
                          </a:solidFill>
                          <a:latin typeface="BMWTypeRegular" pitchFamily="34" charset="0"/>
                          <a:ea typeface="+mn-ea"/>
                          <a:cs typeface="+mn-cs"/>
                        </a:rPr>
                        <a:t>between</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maturity</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elements</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features</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functions</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component</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are</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familiar</a:t>
                      </a:r>
                      <a:r>
                        <a:rPr lang="de-DE" sz="600" b="0" i="0" u="none" strike="noStrike" kern="1200" baseline="0" dirty="0" smtClean="0">
                          <a:solidFill>
                            <a:schemeClr val="accent6"/>
                          </a:solidFill>
                          <a:latin typeface="BMWTypeRegular" pitchFamily="34" charset="0"/>
                          <a:ea typeface="+mn-ea"/>
                          <a:cs typeface="+mn-cs"/>
                        </a:rPr>
                        <a:t>, but not </a:t>
                      </a:r>
                      <a:r>
                        <a:rPr lang="de-DE" sz="600" b="0" i="0" u="none" strike="noStrike" kern="1200" baseline="0" dirty="0" err="1" smtClean="0">
                          <a:solidFill>
                            <a:schemeClr val="accent6"/>
                          </a:solidFill>
                          <a:latin typeface="BMWTypeRegular" pitchFamily="34" charset="0"/>
                          <a:ea typeface="+mn-ea"/>
                          <a:cs typeface="+mn-cs"/>
                        </a:rPr>
                        <a:t>conceptually</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represented</a:t>
                      </a:r>
                      <a:r>
                        <a:rPr lang="de-DE" sz="600" b="0" i="0" u="none" strike="noStrike" kern="1200" baseline="0" dirty="0" smtClean="0">
                          <a:solidFill>
                            <a:schemeClr val="accent6"/>
                          </a:solidFill>
                          <a:latin typeface="BMWTypeRegular" pitchFamily="34" charset="0"/>
                          <a:ea typeface="+mn-ea"/>
                          <a:cs typeface="+mn-cs"/>
                        </a:rPr>
                        <a:t>. </a:t>
                      </a:r>
                      <a:endParaRPr lang="de-DE" sz="600" b="0" i="0" u="none" strike="noStrike" kern="1200" dirty="0" smtClean="0">
                        <a:solidFill>
                          <a:schemeClr val="accent6"/>
                        </a:solidFill>
                        <a:latin typeface="BMWTypeRegular"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Lessons</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Learned</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and</a:t>
                      </a:r>
                      <a:r>
                        <a:rPr lang="de-DE" sz="600" b="0" i="0" u="none" strike="noStrike" kern="1200" dirty="0" smtClean="0">
                          <a:solidFill>
                            <a:schemeClr val="accent6"/>
                          </a:solidFill>
                          <a:latin typeface="BMWTypeRegular" pitchFamily="34" charset="0"/>
                          <a:ea typeface="+mn-ea"/>
                          <a:cs typeface="+mn-cs"/>
                        </a:rPr>
                        <a:t> SSA </a:t>
                      </a:r>
                      <a:r>
                        <a:rPr lang="de-DE" sz="600" b="0" i="0" u="none" strike="noStrike" kern="1200" dirty="0" err="1" smtClean="0">
                          <a:solidFill>
                            <a:schemeClr val="accent6"/>
                          </a:solidFill>
                          <a:latin typeface="BMWTypeRegular" pitchFamily="34" charset="0"/>
                          <a:ea typeface="+mn-ea"/>
                          <a:cs typeface="+mn-cs"/>
                        </a:rPr>
                        <a:t>are</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available</a:t>
                      </a:r>
                      <a:r>
                        <a:rPr lang="de-DE" sz="600" b="0" i="0" u="none" strike="noStrike" kern="1200" dirty="0" smtClean="0">
                          <a:solidFill>
                            <a:schemeClr val="accent6"/>
                          </a:solidFill>
                          <a:latin typeface="BMWTypeRegular" pitchFamily="34" charset="0"/>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Propositions</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for</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creating</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rough</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concepts</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of</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production</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technologies</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are</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available</a:t>
                      </a:r>
                      <a:r>
                        <a:rPr lang="de-DE" sz="600" b="0" i="0" u="none" strike="noStrike" kern="1200" baseline="0" dirty="0" smtClean="0">
                          <a:solidFill>
                            <a:schemeClr val="accent6"/>
                          </a:solidFill>
                          <a:latin typeface="BMWTypeRegular" pitchFamily="34" charset="0"/>
                          <a:ea typeface="+mn-ea"/>
                          <a:cs typeface="+mn-cs"/>
                        </a:rPr>
                        <a:t>.</a:t>
                      </a:r>
                      <a:endParaRPr lang="de-DE" sz="600" b="0" i="0" u="none" strike="noStrike" kern="1200" dirty="0" smtClean="0">
                        <a:solidFill>
                          <a:schemeClr val="accent6"/>
                        </a:solidFill>
                        <a:latin typeface="BMWTypeRegular" pitchFamily="34" charset="0"/>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005738">
                <a:tc>
                  <a:txBody>
                    <a:bodyPr/>
                    <a:lstStyle/>
                    <a:p>
                      <a:pPr algn="ctr"/>
                      <a:r>
                        <a:rPr lang="de-DE" sz="1400" b="1" smtClean="0">
                          <a:solidFill>
                            <a:schemeClr val="bg1"/>
                          </a:solidFill>
                        </a:rPr>
                        <a:t>Maturity level 1</a:t>
                      </a:r>
                      <a:endParaRPr lang="de-DE" sz="1400" b="1" dirty="0">
                        <a:solidFill>
                          <a:schemeClr val="bg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600" b="1" u="sng" dirty="0" err="1" smtClean="0">
                          <a:solidFill>
                            <a:schemeClr val="tx1"/>
                          </a:solidFill>
                          <a:latin typeface="BMWTypeRegular" pitchFamily="34" charset="0"/>
                        </a:rPr>
                        <a:t>Maturity</a:t>
                      </a:r>
                      <a:r>
                        <a:rPr lang="de-DE" sz="600" b="1" u="sng" dirty="0" smtClean="0">
                          <a:solidFill>
                            <a:schemeClr val="tx1"/>
                          </a:solidFill>
                          <a:latin typeface="BMWTypeRegular" pitchFamily="34" charset="0"/>
                        </a:rPr>
                        <a:t> </a:t>
                      </a:r>
                      <a:r>
                        <a:rPr lang="de-DE" sz="600" b="1" u="sng" dirty="0" err="1" smtClean="0">
                          <a:solidFill>
                            <a:schemeClr val="tx1"/>
                          </a:solidFill>
                          <a:latin typeface="BMWTypeRegular" pitchFamily="34" charset="0"/>
                        </a:rPr>
                        <a:t>aspects</a:t>
                      </a:r>
                      <a:r>
                        <a:rPr lang="de-DE" sz="600" b="1" u="sng" dirty="0" smtClean="0">
                          <a:solidFill>
                            <a:schemeClr val="tx1"/>
                          </a:solidFill>
                          <a:latin typeface="BMWTypeRegular" pitchFamily="34" charset="0"/>
                        </a:rPr>
                        <a:t> </a:t>
                      </a:r>
                      <a:r>
                        <a:rPr lang="de-DE" sz="600" b="1" u="sng" dirty="0" err="1" smtClean="0">
                          <a:solidFill>
                            <a:schemeClr val="tx1"/>
                          </a:solidFill>
                          <a:latin typeface="BMWTypeRegular" pitchFamily="34" charset="0"/>
                        </a:rPr>
                        <a:t>concerning</a:t>
                      </a:r>
                      <a:r>
                        <a:rPr lang="de-DE" sz="600" b="1" u="sng" dirty="0" smtClean="0">
                          <a:solidFill>
                            <a:schemeClr val="tx1"/>
                          </a:solidFill>
                          <a:latin typeface="BMWTypeRegular" pitchFamily="34" charset="0"/>
                        </a:rPr>
                        <a:t> </a:t>
                      </a:r>
                      <a:r>
                        <a:rPr lang="de-DE" sz="600" b="1" u="sng" dirty="0" err="1" smtClean="0">
                          <a:solidFill>
                            <a:schemeClr val="tx1"/>
                          </a:solidFill>
                          <a:latin typeface="BMWTypeRegular" pitchFamily="34" charset="0"/>
                        </a:rPr>
                        <a:t>product</a:t>
                      </a:r>
                      <a:r>
                        <a:rPr lang="de-DE" sz="600" b="1" u="sng" baseline="0" dirty="0" smtClean="0">
                          <a:solidFill>
                            <a:schemeClr val="tx1"/>
                          </a:solidFill>
                          <a:latin typeface="BMWTypeRegular" pitchFamily="34" charset="0"/>
                        </a:rPr>
                        <a:t> </a:t>
                      </a:r>
                      <a:r>
                        <a:rPr lang="de-DE" sz="600" b="1" u="sng" baseline="0" dirty="0" err="1" smtClean="0">
                          <a:solidFill>
                            <a:schemeClr val="tx1"/>
                          </a:solidFill>
                          <a:latin typeface="BMWTypeRegular" pitchFamily="34" charset="0"/>
                        </a:rPr>
                        <a:t>implementation</a:t>
                      </a:r>
                      <a:r>
                        <a:rPr lang="de-DE" sz="600" b="1" i="0" u="sng" strike="noStrike" dirty="0" smtClean="0">
                          <a:solidFill>
                            <a:srgbClr val="000000"/>
                          </a:solidFill>
                          <a:latin typeface="BMWTypeRegular" pitchFamily="34" charset="0"/>
                        </a:rPr>
                        <a:t>:</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Maturity</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element</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is</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specifie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requirements</a:t>
                      </a:r>
                      <a:r>
                        <a:rPr lang="de-DE" sz="600" b="0" i="0" u="none" strike="noStrike" baseline="0" dirty="0" smtClean="0">
                          <a:solidFill>
                            <a:srgbClr val="000000"/>
                          </a:solidFill>
                          <a:latin typeface="BMWTypeRegular" pitchFamily="34" charset="0"/>
                        </a:rPr>
                        <a:t> ZAK on </a:t>
                      </a:r>
                      <a:r>
                        <a:rPr lang="de-DE" sz="600" b="0" i="0" u="none" strike="noStrike" baseline="0" dirty="0" err="1" smtClean="0">
                          <a:solidFill>
                            <a:srgbClr val="000000"/>
                          </a:solidFill>
                          <a:latin typeface="BMWTypeRegular" pitchFamily="34" charset="0"/>
                        </a:rPr>
                        <a:t>right</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sid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ar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define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an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conceptually</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virtually</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an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or</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hardwar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represented</a:t>
                      </a:r>
                      <a:r>
                        <a:rPr lang="de-DE" sz="600" b="0" i="0" u="none" strike="noStrike" baseline="0" dirty="0" smtClean="0">
                          <a:solidFill>
                            <a:srgbClr val="000000"/>
                          </a:solidFill>
                          <a:latin typeface="BMWTypeRegular" pitchFamily="34" charset="0"/>
                        </a:rPr>
                        <a:t>.</a:t>
                      </a:r>
                      <a:endParaRPr lang="de-DE" sz="600" b="0" i="0" u="none" strike="noStrike" dirty="0" smtClean="0">
                        <a:solidFill>
                          <a:srgbClr val="000000"/>
                        </a:solidFill>
                        <a:latin typeface="BMWTypeRegular"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Maturity</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element</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is</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partly</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implemented</a:t>
                      </a:r>
                      <a:r>
                        <a:rPr lang="de-DE" sz="600" b="0" i="0" u="none" strike="noStrike" dirty="0" smtClean="0">
                          <a:solidFill>
                            <a:srgbClr val="000000"/>
                          </a:solidFill>
                          <a:latin typeface="BMWTypeRegular" pitchFamily="34" charset="0"/>
                        </a:rPr>
                        <a:t>.</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Maturity</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element</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is</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representabl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at</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subsystem</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level</a:t>
                      </a:r>
                      <a:r>
                        <a:rPr lang="de-DE" sz="600" b="0" i="0" u="none" strike="noStrike" baseline="0" dirty="0" smtClean="0">
                          <a:solidFill>
                            <a:srgbClr val="000000"/>
                          </a:solidFill>
                          <a:latin typeface="BMWTypeRegular" pitchFamily="34" charset="0"/>
                        </a:rPr>
                        <a:t>.</a:t>
                      </a:r>
                      <a:endParaRPr lang="de-DE" sz="600" b="0" i="0" u="none" strike="noStrike" dirty="0" smtClean="0">
                        <a:solidFill>
                          <a:srgbClr val="000000"/>
                        </a:solidFill>
                        <a:latin typeface="BMWTypeRegular"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Measures</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for</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the</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attainment</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of</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vehicle</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features</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based</a:t>
                      </a:r>
                      <a:r>
                        <a:rPr lang="de-DE" sz="600" b="0" i="0" u="none" strike="noStrike" dirty="0" smtClean="0">
                          <a:solidFill>
                            <a:srgbClr val="000000"/>
                          </a:solidFill>
                          <a:latin typeface="BMWTypeRegular" pitchFamily="34" charset="0"/>
                        </a:rPr>
                        <a:t> on KMG</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planne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status</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ar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familiar</a:t>
                      </a:r>
                      <a:r>
                        <a:rPr lang="de-DE" sz="600" b="0" i="0" u="none" strike="noStrike" baseline="0" dirty="0" smtClean="0">
                          <a:solidFill>
                            <a:srgbClr val="000000"/>
                          </a:solidFill>
                          <a:latin typeface="BMWTypeRegular" pitchFamily="34" charset="0"/>
                        </a:rPr>
                        <a:t>.</a:t>
                      </a:r>
                      <a:endParaRPr lang="de-DE" sz="600" b="0" i="0" u="none" strike="noStrike" dirty="0" smtClean="0">
                        <a:solidFill>
                          <a:schemeClr val="tx1"/>
                        </a:solidFill>
                        <a:latin typeface="BMWTypeRegular"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kern="1200" dirty="0" smtClean="0">
                          <a:solidFill>
                            <a:schemeClr val="tx1"/>
                          </a:solidFill>
                          <a:latin typeface="BMWTypeRegular" pitchFamily="34" charset="0"/>
                          <a:ea typeface="+mn-ea"/>
                          <a:cs typeface="+mn-cs"/>
                        </a:rPr>
                        <a:t>- Basic </a:t>
                      </a:r>
                      <a:r>
                        <a:rPr lang="de-DE" sz="600" b="0" i="0" u="none" strike="noStrike" kern="1200" dirty="0" err="1" smtClean="0">
                          <a:solidFill>
                            <a:schemeClr val="tx1"/>
                          </a:solidFill>
                          <a:latin typeface="BMWTypeRegular" pitchFamily="34" charset="0"/>
                          <a:ea typeface="+mn-ea"/>
                          <a:cs typeface="+mn-cs"/>
                        </a:rPr>
                        <a:t>manufacturing</a:t>
                      </a:r>
                      <a:r>
                        <a:rPr lang="de-DE" sz="600" b="0" i="0" u="none" strike="noStrike" kern="1200" dirty="0" smtClean="0">
                          <a:solidFill>
                            <a:schemeClr val="tx1"/>
                          </a:solidFill>
                          <a:latin typeface="BMWTypeRegular" pitchFamily="34" charset="0"/>
                          <a:ea typeface="+mn-ea"/>
                          <a:cs typeface="+mn-cs"/>
                        </a:rPr>
                        <a:t> </a:t>
                      </a:r>
                      <a:r>
                        <a:rPr lang="de-DE" sz="600" b="0" i="0" u="none" strike="noStrike" kern="1200" dirty="0" err="1" smtClean="0">
                          <a:solidFill>
                            <a:schemeClr val="tx1"/>
                          </a:solidFill>
                          <a:latin typeface="BMWTypeRegular" pitchFamily="34" charset="0"/>
                          <a:ea typeface="+mn-ea"/>
                          <a:cs typeface="+mn-cs"/>
                        </a:rPr>
                        <a:t>feasibility</a:t>
                      </a:r>
                      <a:r>
                        <a:rPr lang="de-DE" sz="600" b="0" i="0" u="none" strike="noStrike" kern="1200" baseline="0" dirty="0" smtClean="0">
                          <a:solidFill>
                            <a:schemeClr val="tx1"/>
                          </a:solidFill>
                          <a:latin typeface="BMWTypeRegular" pitchFamily="34" charset="0"/>
                          <a:ea typeface="+mn-ea"/>
                          <a:cs typeface="+mn-cs"/>
                        </a:rPr>
                        <a:t> </a:t>
                      </a:r>
                      <a:r>
                        <a:rPr lang="de-DE" sz="600" b="0" i="0" u="none" strike="noStrike" kern="1200" baseline="0" dirty="0" err="1" smtClean="0">
                          <a:solidFill>
                            <a:schemeClr val="tx1"/>
                          </a:solidFill>
                          <a:latin typeface="BMWTypeRegular" pitchFamily="34" charset="0"/>
                          <a:ea typeface="+mn-ea"/>
                          <a:cs typeface="+mn-cs"/>
                        </a:rPr>
                        <a:t>concerning</a:t>
                      </a:r>
                      <a:r>
                        <a:rPr lang="de-DE" sz="600" b="0" i="0" u="none" strike="noStrike" kern="1200" baseline="0" dirty="0" smtClean="0">
                          <a:solidFill>
                            <a:schemeClr val="tx1"/>
                          </a:solidFill>
                          <a:latin typeface="BMWTypeRegular" pitchFamily="34" charset="0"/>
                          <a:ea typeface="+mn-ea"/>
                          <a:cs typeface="+mn-cs"/>
                        </a:rPr>
                        <a:t> </a:t>
                      </a:r>
                      <a:r>
                        <a:rPr lang="de-DE" sz="600" b="0" i="0" u="none" strike="noStrike" kern="1200" baseline="0" dirty="0" err="1" smtClean="0">
                          <a:solidFill>
                            <a:schemeClr val="tx1"/>
                          </a:solidFill>
                          <a:latin typeface="BMWTypeRegular" pitchFamily="34" charset="0"/>
                          <a:ea typeface="+mn-ea"/>
                          <a:cs typeface="+mn-cs"/>
                        </a:rPr>
                        <a:t>conceptual</a:t>
                      </a:r>
                      <a:r>
                        <a:rPr lang="de-DE" sz="600" b="0" i="0" u="none" strike="noStrike" kern="1200" baseline="0" dirty="0" smtClean="0">
                          <a:solidFill>
                            <a:schemeClr val="tx1"/>
                          </a:solidFill>
                          <a:latin typeface="BMWTypeRegular" pitchFamily="34" charset="0"/>
                          <a:ea typeface="+mn-ea"/>
                          <a:cs typeface="+mn-cs"/>
                        </a:rPr>
                        <a:t> </a:t>
                      </a:r>
                      <a:r>
                        <a:rPr lang="de-DE" sz="600" b="0" i="0" u="none" strike="noStrike" kern="1200" baseline="0" dirty="0" err="1" smtClean="0">
                          <a:solidFill>
                            <a:schemeClr val="tx1"/>
                          </a:solidFill>
                          <a:latin typeface="BMWTypeRegular" pitchFamily="34" charset="0"/>
                          <a:ea typeface="+mn-ea"/>
                          <a:cs typeface="+mn-cs"/>
                        </a:rPr>
                        <a:t>topics</a:t>
                      </a:r>
                      <a:r>
                        <a:rPr lang="de-DE" sz="600" b="0" i="0" u="none" strike="noStrike" kern="1200" baseline="0" dirty="0" smtClean="0">
                          <a:solidFill>
                            <a:schemeClr val="tx1"/>
                          </a:solidFill>
                          <a:latin typeface="BMWTypeRegular" pitchFamily="34" charset="0"/>
                          <a:ea typeface="+mn-ea"/>
                          <a:cs typeface="+mn-cs"/>
                        </a:rPr>
                        <a:t> </a:t>
                      </a:r>
                      <a:r>
                        <a:rPr lang="de-DE" sz="600" b="0" i="0" u="none" strike="noStrike" kern="1200" baseline="0" dirty="0" err="1" smtClean="0">
                          <a:solidFill>
                            <a:schemeClr val="tx1"/>
                          </a:solidFill>
                          <a:latin typeface="BMWTypeRegular" pitchFamily="34" charset="0"/>
                          <a:ea typeface="+mn-ea"/>
                          <a:cs typeface="+mn-cs"/>
                        </a:rPr>
                        <a:t>i</a:t>
                      </a:r>
                      <a:r>
                        <a:rPr lang="de-DE" sz="600" b="0" i="0" u="none" strike="noStrike" kern="1200" dirty="0" err="1" smtClean="0">
                          <a:solidFill>
                            <a:schemeClr val="tx1"/>
                          </a:solidFill>
                          <a:latin typeface="BMWTypeRegular" pitchFamily="34" charset="0"/>
                          <a:ea typeface="+mn-ea"/>
                          <a:cs typeface="+mn-cs"/>
                        </a:rPr>
                        <a:t>s</a:t>
                      </a:r>
                      <a:r>
                        <a:rPr lang="de-DE" sz="600" b="0" i="0" u="none" strike="noStrike" kern="1200" dirty="0" smtClean="0">
                          <a:solidFill>
                            <a:schemeClr val="tx1"/>
                          </a:solidFill>
                          <a:latin typeface="BMWTypeRegular" pitchFamily="34" charset="0"/>
                          <a:ea typeface="+mn-ea"/>
                          <a:cs typeface="+mn-cs"/>
                        </a:rPr>
                        <a:t> </a:t>
                      </a:r>
                      <a:r>
                        <a:rPr lang="de-DE" sz="600" b="0" i="0" u="none" strike="noStrike" kern="1200" dirty="0" err="1" smtClean="0">
                          <a:solidFill>
                            <a:schemeClr val="tx1"/>
                          </a:solidFill>
                          <a:latin typeface="BMWTypeRegular" pitchFamily="34" charset="0"/>
                          <a:ea typeface="+mn-ea"/>
                          <a:cs typeface="+mn-cs"/>
                        </a:rPr>
                        <a:t>evaluated</a:t>
                      </a:r>
                      <a:r>
                        <a:rPr lang="de-DE" sz="600" b="0" i="0" u="none" strike="noStrike" kern="1200" dirty="0" smtClean="0">
                          <a:solidFill>
                            <a:schemeClr val="tx1"/>
                          </a:solidFill>
                          <a:latin typeface="BMWTypeRegular" pitchFamily="34" charset="0"/>
                          <a:ea typeface="+mn-ea"/>
                          <a:cs typeface="+mn-cs"/>
                        </a:rPr>
                        <a:t>. </a:t>
                      </a:r>
                    </a:p>
                    <a:p>
                      <a:pPr marL="0" marR="0" indent="0" algn="l" defTabSz="914400" rtl="0" eaLnBrk="1" fontAlgn="auto" latinLnBrk="0" hangingPunct="1">
                        <a:lnSpc>
                          <a:spcPct val="100000"/>
                        </a:lnSpc>
                        <a:spcBef>
                          <a:spcPts val="0"/>
                        </a:spcBef>
                        <a:spcAft>
                          <a:spcPts val="0"/>
                        </a:spcAft>
                        <a:buClrTx/>
                        <a:buSzTx/>
                        <a:buFontTx/>
                        <a:buChar char="-"/>
                        <a:tabLst/>
                        <a:defRPr/>
                      </a:pPr>
                      <a:r>
                        <a:rPr lang="de-DE" sz="600" b="0" i="0" u="none" strike="noStrike" dirty="0" err="1" smtClean="0">
                          <a:solidFill>
                            <a:srgbClr val="000000"/>
                          </a:solidFill>
                          <a:latin typeface="BMWTypeRegular" pitchFamily="34" charset="0"/>
                        </a:rPr>
                        <a:t>Driving</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permission</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depending</a:t>
                      </a:r>
                      <a:r>
                        <a:rPr lang="de-DE" sz="600" b="0" i="0" u="none" strike="noStrike" baseline="0" dirty="0" smtClean="0">
                          <a:solidFill>
                            <a:srgbClr val="000000"/>
                          </a:solidFill>
                          <a:latin typeface="BMWTypeRegular" pitchFamily="34" charset="0"/>
                        </a:rPr>
                        <a:t> on </a:t>
                      </a:r>
                      <a:r>
                        <a:rPr lang="de-DE" sz="600" b="0" i="0" u="none" strike="noStrike" baseline="0" dirty="0" err="1" smtClean="0">
                          <a:solidFill>
                            <a:srgbClr val="000000"/>
                          </a:solidFill>
                          <a:latin typeface="BMWTypeRegular" pitchFamily="34" charset="0"/>
                        </a:rPr>
                        <a:t>special</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driving</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training</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an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approval</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of</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prototypes</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stage</a:t>
                      </a:r>
                      <a:r>
                        <a:rPr lang="de-DE" sz="600" b="0" i="0" u="none" strike="noStrike" baseline="0" dirty="0" smtClean="0">
                          <a:solidFill>
                            <a:srgbClr val="000000"/>
                          </a:solidFill>
                          <a:latin typeface="BMWTypeRegular" pitchFamily="34" charset="0"/>
                        </a:rPr>
                        <a:t> 1). </a:t>
                      </a:r>
                      <a:endParaRPr lang="de-DE" sz="600" b="0" i="0" u="none" strike="noStrike" dirty="0" smtClean="0">
                        <a:solidFill>
                          <a:srgbClr val="000000"/>
                        </a:solidFill>
                        <a:latin typeface="BMWTypeRegular"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600" b="1" i="0" u="sng" strike="noStrike" kern="1200" dirty="0" err="1" smtClean="0">
                          <a:solidFill>
                            <a:schemeClr val="accent6"/>
                          </a:solidFill>
                          <a:latin typeface="BMWTypeRegular" pitchFamily="34" charset="0"/>
                          <a:ea typeface="+mn-ea"/>
                          <a:cs typeface="+mn-cs"/>
                        </a:rPr>
                        <a:t>Maturity</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aspects</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concerning</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process</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requirements</a:t>
                      </a:r>
                      <a:r>
                        <a:rPr lang="de-DE" sz="600" b="1" i="0" u="sng" strike="noStrike" kern="1200" dirty="0" smtClean="0">
                          <a:solidFill>
                            <a:schemeClr val="accent6"/>
                          </a:solidFill>
                          <a:latin typeface="BMWTypeRegular" pitchFamily="34" charset="0"/>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Specification</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sheet</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is</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free</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for</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supplier</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demand</a:t>
                      </a:r>
                      <a:r>
                        <a:rPr lang="de-DE" sz="600" b="0" i="0" u="none" strike="noStrike" kern="1200" dirty="0" smtClean="0">
                          <a:solidFill>
                            <a:schemeClr val="accent6"/>
                          </a:solidFill>
                          <a:latin typeface="BMWTypeRegular" pitchFamily="34" charset="0"/>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kern="1200" dirty="0" smtClean="0">
                          <a:solidFill>
                            <a:schemeClr val="accent6"/>
                          </a:solidFill>
                          <a:latin typeface="BMWTypeRegular" pitchFamily="34" charset="0"/>
                          <a:ea typeface="+mn-ea"/>
                          <a:cs typeface="+mn-cs"/>
                        </a:rPr>
                        <a:t>- EKGQ-</a:t>
                      </a:r>
                      <a:r>
                        <a:rPr lang="de-DE" sz="600" b="0" i="0" u="none" strike="noStrike" kern="1200" dirty="0" err="1" smtClean="0">
                          <a:solidFill>
                            <a:schemeClr val="accent6"/>
                          </a:solidFill>
                          <a:latin typeface="BMWTypeRegular" pitchFamily="34" charset="0"/>
                          <a:ea typeface="+mn-ea"/>
                          <a:cs typeface="+mn-cs"/>
                        </a:rPr>
                        <a:t>derived</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targets</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are</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finished</a:t>
                      </a:r>
                      <a:r>
                        <a:rPr lang="de-DE" sz="600" b="0" i="0" u="none" strike="noStrike" kern="1200" dirty="0" smtClean="0">
                          <a:solidFill>
                            <a:schemeClr val="accent6"/>
                          </a:solidFill>
                          <a:latin typeface="BMWTypeRegular" pitchFamily="34" charset="0"/>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Rough</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concenpts</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of</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production</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technologies</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are</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available</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and</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are</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evaluated</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with</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regard</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to</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the</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baseline="0" dirty="0" err="1" smtClean="0">
                          <a:solidFill>
                            <a:schemeClr val="accent6"/>
                          </a:solidFill>
                          <a:latin typeface="BMWTypeRegular" pitchFamily="34" charset="0"/>
                          <a:ea typeface="+mn-ea"/>
                          <a:cs typeface="+mn-cs"/>
                        </a:rPr>
                        <a:t>propositions</a:t>
                      </a:r>
                      <a:r>
                        <a:rPr lang="de-DE" sz="600" b="0" i="0" u="none" strike="noStrike" kern="1200" baseline="0" dirty="0" smtClean="0">
                          <a:solidFill>
                            <a:schemeClr val="accent6"/>
                          </a:solidFill>
                          <a:latin typeface="BMWTypeRegular" pitchFamily="34" charset="0"/>
                          <a:ea typeface="+mn-ea"/>
                          <a:cs typeface="+mn-cs"/>
                        </a:rPr>
                        <a:t>.</a:t>
                      </a:r>
                      <a:r>
                        <a:rPr lang="de-DE" sz="600" b="0" i="0" u="none" strike="noStrike" kern="1200" dirty="0" smtClean="0">
                          <a:solidFill>
                            <a:schemeClr val="accent6"/>
                          </a:solidFill>
                          <a:latin typeface="BMWTypeRegular" pitchFamily="34" charset="0"/>
                          <a:ea typeface="+mn-ea"/>
                          <a:cs typeface="+mn-cs"/>
                        </a:rPr>
                        <a:t> </a:t>
                      </a:r>
                      <a:endParaRPr lang="de-DE" sz="600" b="0" i="0" u="none" strike="noStrike" kern="1200" dirty="0">
                        <a:solidFill>
                          <a:schemeClr val="accent6"/>
                        </a:solidFill>
                        <a:latin typeface="BMWTypeRegular" pitchFamily="34" charset="0"/>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835092">
                <a:tc>
                  <a:txBody>
                    <a:bodyPr/>
                    <a:lstStyle/>
                    <a:p>
                      <a:pPr algn="ctr"/>
                      <a:r>
                        <a:rPr lang="de-DE" sz="1400" b="1" smtClean="0">
                          <a:solidFill>
                            <a:schemeClr val="bg1"/>
                          </a:solidFill>
                        </a:rPr>
                        <a:t>Maturity</a:t>
                      </a:r>
                      <a:r>
                        <a:rPr lang="de-DE" sz="1400" b="1" baseline="0" smtClean="0">
                          <a:solidFill>
                            <a:schemeClr val="bg1"/>
                          </a:solidFill>
                        </a:rPr>
                        <a:t> level</a:t>
                      </a:r>
                      <a:r>
                        <a:rPr lang="de-DE" sz="1400" b="1" smtClean="0">
                          <a:solidFill>
                            <a:schemeClr val="bg1"/>
                          </a:solidFill>
                        </a:rPr>
                        <a:t> </a:t>
                      </a:r>
                      <a:r>
                        <a:rPr lang="de-DE" sz="1400" b="1" dirty="0" smtClean="0">
                          <a:solidFill>
                            <a:schemeClr val="bg1"/>
                          </a:solidFill>
                        </a:rPr>
                        <a:t>2</a:t>
                      </a:r>
                      <a:endParaRPr lang="de-DE" sz="1400" b="1" dirty="0">
                        <a:solidFill>
                          <a:schemeClr val="bg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600" b="1" u="sng" dirty="0" err="1" smtClean="0">
                          <a:solidFill>
                            <a:schemeClr val="tx1"/>
                          </a:solidFill>
                          <a:latin typeface="BMWTypeRegular" pitchFamily="34" charset="0"/>
                        </a:rPr>
                        <a:t>Maturity</a:t>
                      </a:r>
                      <a:r>
                        <a:rPr lang="de-DE" sz="600" b="1" u="sng" dirty="0" smtClean="0">
                          <a:solidFill>
                            <a:schemeClr val="tx1"/>
                          </a:solidFill>
                          <a:latin typeface="BMWTypeRegular" pitchFamily="34" charset="0"/>
                        </a:rPr>
                        <a:t> </a:t>
                      </a:r>
                      <a:r>
                        <a:rPr lang="de-DE" sz="600" b="1" u="sng" dirty="0" err="1" smtClean="0">
                          <a:solidFill>
                            <a:schemeClr val="tx1"/>
                          </a:solidFill>
                          <a:latin typeface="BMWTypeRegular" pitchFamily="34" charset="0"/>
                        </a:rPr>
                        <a:t>aspects</a:t>
                      </a:r>
                      <a:r>
                        <a:rPr lang="de-DE" sz="600" b="1" u="sng" dirty="0" smtClean="0">
                          <a:solidFill>
                            <a:schemeClr val="tx1"/>
                          </a:solidFill>
                          <a:latin typeface="BMWTypeRegular" pitchFamily="34" charset="0"/>
                        </a:rPr>
                        <a:t> </a:t>
                      </a:r>
                      <a:r>
                        <a:rPr lang="de-DE" sz="600" b="1" u="sng" dirty="0" err="1" smtClean="0">
                          <a:solidFill>
                            <a:schemeClr val="tx1"/>
                          </a:solidFill>
                          <a:latin typeface="BMWTypeRegular" pitchFamily="34" charset="0"/>
                        </a:rPr>
                        <a:t>concerning</a:t>
                      </a:r>
                      <a:r>
                        <a:rPr lang="de-DE" sz="600" b="1" u="sng" dirty="0" smtClean="0">
                          <a:solidFill>
                            <a:schemeClr val="tx1"/>
                          </a:solidFill>
                          <a:latin typeface="BMWTypeRegular" pitchFamily="34" charset="0"/>
                        </a:rPr>
                        <a:t> </a:t>
                      </a:r>
                      <a:r>
                        <a:rPr lang="de-DE" sz="600" b="1" u="sng" dirty="0" err="1" smtClean="0">
                          <a:solidFill>
                            <a:schemeClr val="tx1"/>
                          </a:solidFill>
                          <a:latin typeface="BMWTypeRegular" pitchFamily="34" charset="0"/>
                        </a:rPr>
                        <a:t>product</a:t>
                      </a:r>
                      <a:r>
                        <a:rPr lang="de-DE" sz="600" b="1" u="sng" baseline="0" dirty="0" smtClean="0">
                          <a:solidFill>
                            <a:schemeClr val="tx1"/>
                          </a:solidFill>
                          <a:latin typeface="BMWTypeRegular" pitchFamily="34" charset="0"/>
                        </a:rPr>
                        <a:t> </a:t>
                      </a:r>
                      <a:r>
                        <a:rPr lang="de-DE" sz="600" b="1" u="sng" baseline="0" dirty="0" err="1" smtClean="0">
                          <a:solidFill>
                            <a:schemeClr val="tx1"/>
                          </a:solidFill>
                          <a:latin typeface="BMWTypeRegular" pitchFamily="34" charset="0"/>
                        </a:rPr>
                        <a:t>implementation</a:t>
                      </a:r>
                      <a:r>
                        <a:rPr lang="de-DE" sz="600" b="1" i="0" u="sng" strike="noStrike" dirty="0" smtClean="0">
                          <a:solidFill>
                            <a:srgbClr val="000000"/>
                          </a:solidFill>
                          <a:latin typeface="BMWTypeRegular" pitchFamily="34" charset="0"/>
                        </a:rPr>
                        <a:t>:</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Maturity</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element</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is</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completely</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virtual</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an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or</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hardwar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represente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requirements</a:t>
                      </a:r>
                      <a:r>
                        <a:rPr lang="de-DE" sz="600" b="0" i="0" u="none" strike="noStrike" baseline="0" dirty="0" smtClean="0">
                          <a:solidFill>
                            <a:srgbClr val="000000"/>
                          </a:solidFill>
                          <a:latin typeface="BMWTypeRegular" pitchFamily="34" charset="0"/>
                        </a:rPr>
                        <a:t> ZAK on </a:t>
                      </a:r>
                      <a:r>
                        <a:rPr lang="de-DE" sz="600" b="0" i="0" u="none" strike="noStrike" baseline="0" dirty="0" err="1" smtClean="0">
                          <a:solidFill>
                            <a:srgbClr val="000000"/>
                          </a:solidFill>
                          <a:latin typeface="BMWTypeRegular" pitchFamily="34" charset="0"/>
                        </a:rPr>
                        <a:t>right</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side</a:t>
                      </a:r>
                      <a:r>
                        <a:rPr lang="de-DE" sz="600" b="0" i="0" u="none" strike="noStrike" baseline="0"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are</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confirme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an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integratabl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concerning</a:t>
                      </a:r>
                      <a:r>
                        <a:rPr lang="de-DE" sz="600" b="0" i="0" u="none" strike="noStrike" baseline="0" dirty="0" smtClean="0">
                          <a:solidFill>
                            <a:srgbClr val="000000"/>
                          </a:solidFill>
                          <a:latin typeface="BMWTypeRegular" pitchFamily="34" charset="0"/>
                        </a:rPr>
                        <a:t> GFZ. </a:t>
                      </a:r>
                      <a:endParaRPr lang="de-DE" sz="600" b="0" i="0" u="none" strike="noStrike" dirty="0" smtClean="0">
                        <a:solidFill>
                          <a:srgbClr val="000000"/>
                        </a:solidFill>
                        <a:latin typeface="BMWTypeRegular"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Maturity</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element</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is</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completely</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implemented</a:t>
                      </a:r>
                      <a:r>
                        <a:rPr lang="de-DE" sz="600" b="0" i="0" u="none" strike="noStrike" dirty="0" smtClean="0">
                          <a:solidFill>
                            <a:srgbClr val="000000"/>
                          </a:solidFill>
                          <a:latin typeface="BMWTypeRegular" pitchFamily="34" charset="0"/>
                        </a:rPr>
                        <a:t>.</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Maturity</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element</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is</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represented</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within</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th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phase-specific</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target</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rang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at</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subsystem</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level</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an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partly</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suitabl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for</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trial</a:t>
                      </a:r>
                      <a:r>
                        <a:rPr lang="de-DE" sz="600" b="0" i="0" u="none" strike="noStrike" baseline="0" dirty="0" smtClean="0">
                          <a:solidFill>
                            <a:srgbClr val="000000"/>
                          </a:solidFill>
                          <a:latin typeface="BMWTypeRegular" pitchFamily="34" charset="0"/>
                        </a:rPr>
                        <a:t>. </a:t>
                      </a:r>
                      <a:endParaRPr lang="de-DE" sz="600" b="0" i="0" u="none" strike="noStrike" dirty="0" smtClean="0">
                        <a:solidFill>
                          <a:srgbClr val="000000"/>
                        </a:solidFill>
                        <a:latin typeface="BMWTypeRegular"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Familiar</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measures</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for</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the</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attainment</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of</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vehicl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features</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ar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evaluate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with</a:t>
                      </a:r>
                      <a:r>
                        <a:rPr lang="de-DE" sz="600" b="0" i="0" u="none" strike="noStrike" baseline="0" dirty="0" smtClean="0">
                          <a:solidFill>
                            <a:srgbClr val="000000"/>
                          </a:solidFill>
                          <a:latin typeface="BMWTypeRegular" pitchFamily="34" charset="0"/>
                        </a:rPr>
                        <a:t> EKGQ </a:t>
                      </a:r>
                      <a:r>
                        <a:rPr lang="de-DE" sz="600" b="0" i="0" u="none" strike="noStrike" baseline="0" dirty="0" err="1" smtClean="0">
                          <a:solidFill>
                            <a:srgbClr val="000000"/>
                          </a:solidFill>
                          <a:latin typeface="BMWTypeRegular" pitchFamily="34" charset="0"/>
                        </a:rPr>
                        <a:t>an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expedient</a:t>
                      </a:r>
                      <a:r>
                        <a:rPr lang="de-DE" sz="600" b="0" i="0" u="none" strike="noStrike" baseline="0" dirty="0" smtClean="0">
                          <a:solidFill>
                            <a:srgbClr val="000000"/>
                          </a:solidFill>
                          <a:latin typeface="BMWTypeRegular" pitchFamily="34" charset="0"/>
                        </a:rPr>
                        <a:t>.</a:t>
                      </a:r>
                      <a:r>
                        <a:rPr lang="de-DE" sz="600" b="0" i="0" u="none" strike="noStrike" dirty="0" smtClean="0">
                          <a:solidFill>
                            <a:srgbClr val="000000"/>
                          </a:solidFill>
                          <a:latin typeface="BMWTypeRegular" pitchFamily="34" charset="0"/>
                        </a:rPr>
                        <a:t> </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dirty="0" smtClean="0">
                          <a:solidFill>
                            <a:srgbClr val="000000"/>
                          </a:solidFill>
                          <a:latin typeface="BMWTypeRegular" pitchFamily="34" charset="0"/>
                        </a:rPr>
                        <a:t>- Nee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for</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action</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r</a:t>
                      </a:r>
                      <a:r>
                        <a:rPr lang="de-DE" sz="600" b="0" i="0" u="none" strike="noStrike" dirty="0" err="1" smtClean="0">
                          <a:solidFill>
                            <a:srgbClr val="000000"/>
                          </a:solidFill>
                          <a:latin typeface="BMWTypeRegular" pitchFamily="34" charset="0"/>
                        </a:rPr>
                        <a:t>esulting</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from</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manufacturing</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feasibility</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is</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evaluated</a:t>
                      </a:r>
                      <a:r>
                        <a:rPr lang="de-DE" sz="600" b="0" i="0" u="none" strike="noStrike" baseline="0" dirty="0" smtClean="0">
                          <a:solidFill>
                            <a:srgbClr val="000000"/>
                          </a:solidFill>
                          <a:latin typeface="BMWTypeRegular" pitchFamily="34" charset="0"/>
                        </a:rPr>
                        <a:t> on total </a:t>
                      </a:r>
                      <a:r>
                        <a:rPr lang="de-DE" sz="600" b="0" i="0" u="none" strike="noStrike" baseline="0" dirty="0" err="1" smtClean="0">
                          <a:solidFill>
                            <a:srgbClr val="000000"/>
                          </a:solidFill>
                          <a:latin typeface="BMWTypeRegular" pitchFamily="34" charset="0"/>
                        </a:rPr>
                        <a:t>vehicl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level</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an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it</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is</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expedient</a:t>
                      </a:r>
                      <a:r>
                        <a:rPr lang="de-DE" sz="600" b="0" i="0" u="none" strike="noStrike" baseline="0" dirty="0" smtClean="0">
                          <a:solidFill>
                            <a:srgbClr val="000000"/>
                          </a:solidFill>
                          <a:latin typeface="BMWTypeRegular" pitchFamily="34" charset="0"/>
                        </a:rPr>
                        <a:t>. </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baseline="0"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Specific</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driving</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permission</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for</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development</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partners</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with</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special</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driving</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training</a:t>
                      </a:r>
                      <a:r>
                        <a:rPr lang="de-DE" sz="600" b="0" i="0" u="none" strike="noStrike" baseline="0" dirty="0" smtClean="0">
                          <a:solidFill>
                            <a:srgbClr val="000000"/>
                          </a:solidFill>
                          <a:latin typeface="BMWTypeRegular" pitchFamily="34" charset="0"/>
                        </a:rPr>
                        <a:t> in </a:t>
                      </a:r>
                      <a:r>
                        <a:rPr lang="de-DE" sz="600" b="0" i="0" u="none" strike="noStrike" baseline="0" dirty="0" err="1" smtClean="0">
                          <a:solidFill>
                            <a:srgbClr val="000000"/>
                          </a:solidFill>
                          <a:latin typeface="BMWTypeRegular" pitchFamily="34" charset="0"/>
                        </a:rPr>
                        <a:t>accordanc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with</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th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Guideline</a:t>
                      </a:r>
                      <a:r>
                        <a:rPr lang="de-DE" sz="600" b="0" i="0" u="none" strike="noStrike" baseline="0" dirty="0" smtClean="0">
                          <a:solidFill>
                            <a:srgbClr val="000000"/>
                          </a:solidFill>
                          <a:latin typeface="BMWTypeRegular" pitchFamily="34" charset="0"/>
                        </a:rPr>
                        <a:t> </a:t>
                      </a:r>
                      <a:r>
                        <a:rPr lang="de-DE" sz="600" b="0" i="0" u="none" strike="noStrike" dirty="0" smtClean="0">
                          <a:solidFill>
                            <a:srgbClr val="000000"/>
                          </a:solidFill>
                          <a:latin typeface="BMWTypeRegular" pitchFamily="34" charset="0"/>
                        </a:rPr>
                        <a:t>(</a:t>
                      </a:r>
                      <a:r>
                        <a:rPr lang="de-DE" sz="600" b="0" i="0" u="none" strike="noStrike" dirty="0" err="1" smtClean="0">
                          <a:solidFill>
                            <a:srgbClr val="000000"/>
                          </a:solidFill>
                          <a:latin typeface="BMWTypeRegular" pitchFamily="34" charset="0"/>
                        </a:rPr>
                        <a:t>stage</a:t>
                      </a:r>
                      <a:r>
                        <a:rPr lang="de-DE" sz="600" b="0" i="0" u="none" strike="noStrike" baseline="0" dirty="0" smtClean="0">
                          <a:solidFill>
                            <a:srgbClr val="000000"/>
                          </a:solidFill>
                          <a:latin typeface="BMWTypeRegular" pitchFamily="34" charset="0"/>
                        </a:rPr>
                        <a:t> </a:t>
                      </a:r>
                      <a:r>
                        <a:rPr lang="de-DE" sz="600" b="0" i="0" u="none" strike="noStrike" dirty="0" smtClean="0">
                          <a:solidFill>
                            <a:srgbClr val="000000"/>
                          </a:solidFill>
                          <a:latin typeface="BMWTypeRegular" pitchFamily="34" charset="0"/>
                        </a:rPr>
                        <a:t>1).</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1" i="0" u="sng" strike="noStrike" kern="1200" dirty="0" err="1" smtClean="0">
                          <a:solidFill>
                            <a:schemeClr val="accent6"/>
                          </a:solidFill>
                          <a:latin typeface="BMWTypeRegular" pitchFamily="34" charset="0"/>
                          <a:ea typeface="+mn-ea"/>
                          <a:cs typeface="+mn-cs"/>
                        </a:rPr>
                        <a:t>Maturity</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aspects</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concerning</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process</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requirements</a:t>
                      </a:r>
                      <a:r>
                        <a:rPr lang="de-DE" sz="600" b="1" i="0" u="sng" strike="noStrike" kern="1200" dirty="0" smtClean="0">
                          <a:solidFill>
                            <a:schemeClr val="accent6"/>
                          </a:solidFill>
                          <a:latin typeface="BMWTypeRegular" pitchFamily="34" charset="0"/>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Requirement</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specification</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is</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free</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for</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development</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goal</a:t>
                      </a:r>
                      <a:r>
                        <a:rPr lang="de-DE" sz="600" b="0" i="0" u="none" strike="noStrike" kern="1200" dirty="0" smtClean="0">
                          <a:solidFill>
                            <a:schemeClr val="accent6"/>
                          </a:solidFill>
                          <a:latin typeface="BMWTypeRegular" pitchFamily="34" charset="0"/>
                          <a:ea typeface="+mn-ea"/>
                          <a:cs typeface="+mn-cs"/>
                        </a:rPr>
                        <a:t>.</a:t>
                      </a:r>
                      <a:endParaRPr lang="de-DE" sz="600" b="0" i="0" u="none" strike="noStrike" kern="1200" dirty="0">
                        <a:solidFill>
                          <a:schemeClr val="accent6"/>
                        </a:solidFill>
                        <a:latin typeface="BMWTypeRegular" pitchFamily="34" charset="0"/>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64445">
                <a:tc>
                  <a:txBody>
                    <a:bodyPr/>
                    <a:lstStyle/>
                    <a:p>
                      <a:pPr algn="ctr"/>
                      <a:r>
                        <a:rPr lang="de-DE" sz="1400" b="1" smtClean="0">
                          <a:solidFill>
                            <a:schemeClr val="bg1"/>
                          </a:solidFill>
                        </a:rPr>
                        <a:t>Maturity level 3</a:t>
                      </a:r>
                      <a:endParaRPr lang="de-DE" sz="1400" b="1" dirty="0">
                        <a:solidFill>
                          <a:schemeClr val="bg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600" b="1" u="sng" dirty="0" err="1" smtClean="0">
                          <a:solidFill>
                            <a:schemeClr val="tx1"/>
                          </a:solidFill>
                          <a:latin typeface="BMWTypeRegular" pitchFamily="34" charset="0"/>
                        </a:rPr>
                        <a:t>Maturity</a:t>
                      </a:r>
                      <a:r>
                        <a:rPr lang="de-DE" sz="600" b="1" u="sng" dirty="0" smtClean="0">
                          <a:solidFill>
                            <a:schemeClr val="tx1"/>
                          </a:solidFill>
                          <a:latin typeface="BMWTypeRegular" pitchFamily="34" charset="0"/>
                        </a:rPr>
                        <a:t> </a:t>
                      </a:r>
                      <a:r>
                        <a:rPr lang="de-DE" sz="600" b="1" u="sng" dirty="0" err="1" smtClean="0">
                          <a:solidFill>
                            <a:schemeClr val="tx1"/>
                          </a:solidFill>
                          <a:latin typeface="BMWTypeRegular" pitchFamily="34" charset="0"/>
                        </a:rPr>
                        <a:t>aspects</a:t>
                      </a:r>
                      <a:r>
                        <a:rPr lang="de-DE" sz="600" b="1" u="sng" dirty="0" smtClean="0">
                          <a:solidFill>
                            <a:schemeClr val="tx1"/>
                          </a:solidFill>
                          <a:latin typeface="BMWTypeRegular" pitchFamily="34" charset="0"/>
                        </a:rPr>
                        <a:t> </a:t>
                      </a:r>
                      <a:r>
                        <a:rPr lang="de-DE" sz="600" b="1" u="sng" dirty="0" err="1" smtClean="0">
                          <a:solidFill>
                            <a:schemeClr val="tx1"/>
                          </a:solidFill>
                          <a:latin typeface="BMWTypeRegular" pitchFamily="34" charset="0"/>
                        </a:rPr>
                        <a:t>concerning</a:t>
                      </a:r>
                      <a:r>
                        <a:rPr lang="de-DE" sz="600" b="1" u="sng" dirty="0" smtClean="0">
                          <a:solidFill>
                            <a:schemeClr val="tx1"/>
                          </a:solidFill>
                          <a:latin typeface="BMWTypeRegular" pitchFamily="34" charset="0"/>
                        </a:rPr>
                        <a:t> </a:t>
                      </a:r>
                      <a:r>
                        <a:rPr lang="de-DE" sz="600" b="1" u="sng" dirty="0" err="1" smtClean="0">
                          <a:solidFill>
                            <a:schemeClr val="tx1"/>
                          </a:solidFill>
                          <a:latin typeface="BMWTypeRegular" pitchFamily="34" charset="0"/>
                        </a:rPr>
                        <a:t>product</a:t>
                      </a:r>
                      <a:r>
                        <a:rPr lang="de-DE" sz="600" b="1" u="sng" baseline="0" dirty="0" smtClean="0">
                          <a:solidFill>
                            <a:schemeClr val="tx1"/>
                          </a:solidFill>
                          <a:latin typeface="BMWTypeRegular" pitchFamily="34" charset="0"/>
                        </a:rPr>
                        <a:t> </a:t>
                      </a:r>
                      <a:r>
                        <a:rPr lang="de-DE" sz="600" b="1" u="sng" baseline="0" dirty="0" err="1" smtClean="0">
                          <a:solidFill>
                            <a:schemeClr val="tx1"/>
                          </a:solidFill>
                          <a:latin typeface="BMWTypeRegular" pitchFamily="34" charset="0"/>
                        </a:rPr>
                        <a:t>implementation</a:t>
                      </a:r>
                      <a:r>
                        <a:rPr lang="de-DE" sz="600" b="1" i="0" u="sng" strike="noStrike" dirty="0" smtClean="0">
                          <a:solidFill>
                            <a:srgbClr val="000000"/>
                          </a:solidFill>
                          <a:latin typeface="BMWTypeRegular" pitchFamily="34" charset="0"/>
                        </a:rPr>
                        <a:t>:</a:t>
                      </a:r>
                    </a:p>
                    <a:p>
                      <a:pPr marL="0" marR="0" indent="0" algn="l" defTabSz="914400" rtl="0" eaLnBrk="1" fontAlgn="auto" latinLnBrk="0" hangingPunct="1">
                        <a:lnSpc>
                          <a:spcPct val="100000"/>
                        </a:lnSpc>
                        <a:spcBef>
                          <a:spcPts val="0"/>
                        </a:spcBef>
                        <a:spcAft>
                          <a:spcPts val="0"/>
                        </a:spcAft>
                        <a:buClrTx/>
                        <a:buSzTx/>
                        <a:buFontTx/>
                        <a:buChar char="-"/>
                        <a:tabLst/>
                        <a:defRPr/>
                      </a:pP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Maturity</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element</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is</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completely</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represente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intotal</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vehicl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an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suitabl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for</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trial</a:t>
                      </a:r>
                      <a:r>
                        <a:rPr lang="de-DE" sz="600" b="0" i="0" u="none" strike="noStrike" baseline="0" dirty="0" smtClean="0">
                          <a:solidFill>
                            <a:srgbClr val="000000"/>
                          </a:solidFill>
                          <a:latin typeface="BMWTypeRegular" pitchFamily="34" charset="0"/>
                        </a:rPr>
                        <a:t>  in </a:t>
                      </a:r>
                      <a:r>
                        <a:rPr lang="de-DE" sz="600" b="0" i="0" u="none" strike="noStrike" baseline="0" dirty="0" err="1" smtClean="0">
                          <a:solidFill>
                            <a:srgbClr val="000000"/>
                          </a:solidFill>
                          <a:latin typeface="BMWTypeRegular" pitchFamily="34" charset="0"/>
                        </a:rPr>
                        <a:t>define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operating</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conditions</a:t>
                      </a:r>
                      <a:r>
                        <a:rPr lang="de-DE" sz="600" b="0" i="0" u="none" strike="noStrike" baseline="0" dirty="0" smtClean="0">
                          <a:solidFill>
                            <a:srgbClr val="000000"/>
                          </a:solidFill>
                          <a:latin typeface="BMWTypeRegular" pitchFamily="34" charset="0"/>
                        </a:rPr>
                        <a:t>. </a:t>
                      </a:r>
                    </a:p>
                    <a:p>
                      <a:pPr marL="0" marR="0" indent="0" algn="l" defTabSz="914400" rtl="0" eaLnBrk="1" fontAlgn="auto" latinLnBrk="0" hangingPunct="1">
                        <a:lnSpc>
                          <a:spcPct val="100000"/>
                        </a:lnSpc>
                        <a:spcBef>
                          <a:spcPts val="0"/>
                        </a:spcBef>
                        <a:spcAft>
                          <a:spcPts val="0"/>
                        </a:spcAft>
                        <a:buClrTx/>
                        <a:buSzTx/>
                        <a:buFontTx/>
                        <a:buChar char="-"/>
                        <a:tabLst/>
                        <a:defRPr/>
                      </a:pP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It</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is</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agreed</a:t>
                      </a:r>
                      <a:r>
                        <a:rPr lang="de-DE" sz="600" b="0" i="0" u="none" strike="noStrike" dirty="0" smtClean="0">
                          <a:solidFill>
                            <a:srgbClr val="000000"/>
                          </a:solidFill>
                          <a:latin typeface="BMWTypeRegular" pitchFamily="34" charset="0"/>
                        </a:rPr>
                        <a:t> upon </a:t>
                      </a:r>
                      <a:r>
                        <a:rPr lang="de-DE" sz="600" b="0" i="0" u="none" strike="noStrike" dirty="0" err="1" smtClean="0">
                          <a:solidFill>
                            <a:srgbClr val="000000"/>
                          </a:solidFill>
                          <a:latin typeface="BMWTypeRegular" pitchFamily="34" charset="0"/>
                        </a:rPr>
                        <a:t>implementation</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of</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measures</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for</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goal</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attainment</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of</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vehicl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features</a:t>
                      </a:r>
                      <a:r>
                        <a:rPr lang="de-DE" sz="600" b="0" i="0" u="none" strike="noStrike" baseline="0" dirty="0" smtClean="0">
                          <a:solidFill>
                            <a:srgbClr val="000000"/>
                          </a:solidFill>
                          <a:latin typeface="BMWTypeRegular" pitchFamily="34" charset="0"/>
                        </a:rPr>
                        <a:t>. </a:t>
                      </a:r>
                      <a:endParaRPr lang="de-DE" sz="600" b="0" i="0" u="none" strike="noStrike" dirty="0" smtClean="0">
                        <a:solidFill>
                          <a:srgbClr val="000000"/>
                        </a:solidFill>
                        <a:latin typeface="BMWTypeRegular"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It</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is</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agreed</a:t>
                      </a:r>
                      <a:r>
                        <a:rPr lang="de-DE" sz="600" b="0" i="0" u="none" strike="noStrike" dirty="0" smtClean="0">
                          <a:solidFill>
                            <a:srgbClr val="000000"/>
                          </a:solidFill>
                          <a:latin typeface="BMWTypeRegular" pitchFamily="34" charset="0"/>
                        </a:rPr>
                        <a:t> upon </a:t>
                      </a:r>
                      <a:r>
                        <a:rPr lang="de-DE" sz="600" b="0" i="0" u="none" strike="noStrike" dirty="0" err="1" smtClean="0">
                          <a:solidFill>
                            <a:srgbClr val="000000"/>
                          </a:solidFill>
                          <a:latin typeface="BMWTypeRegular" pitchFamily="34" charset="0"/>
                        </a:rPr>
                        <a:t>nee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for</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action</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r</a:t>
                      </a:r>
                      <a:r>
                        <a:rPr lang="de-DE" sz="600" b="0" i="0" u="none" strike="noStrike" dirty="0" err="1" smtClean="0">
                          <a:solidFill>
                            <a:srgbClr val="000000"/>
                          </a:solidFill>
                          <a:latin typeface="BMWTypeRegular" pitchFamily="34" charset="0"/>
                        </a:rPr>
                        <a:t>esulting</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from</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manufacturing</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feasibility</a:t>
                      </a:r>
                      <a:r>
                        <a:rPr lang="de-DE" sz="600" b="0" i="0" u="none" strike="noStrike" baseline="0" dirty="0" smtClean="0">
                          <a:solidFill>
                            <a:srgbClr val="000000"/>
                          </a:solidFill>
                          <a:latin typeface="BMWTypeRegular" pitchFamily="34" charset="0"/>
                        </a:rPr>
                        <a:t> on </a:t>
                      </a:r>
                      <a:r>
                        <a:rPr lang="de-DE" sz="600" b="0" i="0" u="none" strike="noStrike" baseline="0" dirty="0" err="1" smtClean="0">
                          <a:solidFill>
                            <a:srgbClr val="000000"/>
                          </a:solidFill>
                          <a:latin typeface="BMWTypeRegular" pitchFamily="34" charset="0"/>
                        </a:rPr>
                        <a:t>component</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level</a:t>
                      </a:r>
                      <a:r>
                        <a:rPr lang="de-DE" sz="600" b="0" i="0" u="none" strike="noStrike" baseline="0" dirty="0" smtClean="0">
                          <a:solidFill>
                            <a:srgbClr val="000000"/>
                          </a:solidFill>
                          <a:latin typeface="BMWTypeRegular" pitchFamily="34" charset="0"/>
                        </a:rPr>
                        <a:t>. </a:t>
                      </a:r>
                      <a:endParaRPr lang="de-DE" sz="600" b="0" i="0" u="none" strike="noStrike" dirty="0" smtClean="0">
                        <a:solidFill>
                          <a:srgbClr val="FF0000"/>
                        </a:solidFill>
                        <a:latin typeface="BMWTypeRegular" pitchFamily="34" charset="0"/>
                      </a:endParaRPr>
                    </a:p>
                    <a:p>
                      <a:pPr marL="0" marR="0" indent="0" algn="l" defTabSz="914400" rtl="0" eaLnBrk="1" fontAlgn="auto" latinLnBrk="0" hangingPunct="1">
                        <a:lnSpc>
                          <a:spcPct val="100000"/>
                        </a:lnSpc>
                        <a:spcBef>
                          <a:spcPts val="0"/>
                        </a:spcBef>
                        <a:spcAft>
                          <a:spcPts val="0"/>
                        </a:spcAft>
                        <a:buClrTx/>
                        <a:buSzTx/>
                        <a:buFontTx/>
                        <a:buChar char="-"/>
                        <a:tabLst/>
                        <a:defRPr/>
                      </a:pP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Conditional</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driving</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permission</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for</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development</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partners</a:t>
                      </a:r>
                      <a:r>
                        <a:rPr lang="de-DE" sz="600" b="0" i="0" u="none" strike="noStrike" dirty="0" smtClean="0">
                          <a:solidFill>
                            <a:srgbClr val="000000"/>
                          </a:solidFill>
                          <a:latin typeface="BMWTypeRegular" pitchFamily="34" charset="0"/>
                        </a:rPr>
                        <a:t> outsid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of</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th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testing</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groun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stage</a:t>
                      </a:r>
                      <a:r>
                        <a:rPr lang="de-DE" sz="600" b="0" i="0" u="none" strike="noStrike" baseline="0" dirty="0" smtClean="0">
                          <a:solidFill>
                            <a:srgbClr val="000000"/>
                          </a:solidFill>
                          <a:latin typeface="BMWTypeRegular" pitchFamily="34" charset="0"/>
                        </a:rPr>
                        <a:t> 2). </a:t>
                      </a:r>
                      <a:endParaRPr lang="de-DE" sz="600" b="0" i="0" u="none" strike="noStrike" dirty="0" smtClean="0">
                        <a:solidFill>
                          <a:srgbClr val="000000"/>
                        </a:solidFill>
                        <a:latin typeface="BMWTypeRegular"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600" b="1" i="0" u="sng" strike="noStrike" kern="1200" dirty="0" err="1" smtClean="0">
                          <a:solidFill>
                            <a:schemeClr val="accent6"/>
                          </a:solidFill>
                          <a:latin typeface="BMWTypeRegular" pitchFamily="34" charset="0"/>
                          <a:ea typeface="+mn-ea"/>
                          <a:cs typeface="+mn-cs"/>
                        </a:rPr>
                        <a:t>Maturity</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aspects</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concerning</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process</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requirements</a:t>
                      </a:r>
                      <a:r>
                        <a:rPr lang="de-DE" sz="600" b="1" i="0" u="sng" strike="noStrike" kern="1200" dirty="0" smtClean="0">
                          <a:solidFill>
                            <a:schemeClr val="accent6"/>
                          </a:solidFill>
                          <a:latin typeface="BMWTypeRegular" pitchFamily="34" charset="0"/>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Supplier</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of</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series</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is</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nominated</a:t>
                      </a:r>
                      <a:r>
                        <a:rPr lang="de-DE" sz="600" b="0" i="0" u="none" strike="noStrike" kern="1200" baseline="0" dirty="0" smtClean="0">
                          <a:solidFill>
                            <a:schemeClr val="accent6"/>
                          </a:solidFill>
                          <a:latin typeface="BMWTypeRegular" pitchFamily="34" charset="0"/>
                          <a:ea typeface="+mn-ea"/>
                          <a:cs typeface="+mn-cs"/>
                        </a:rPr>
                        <a:t> </a:t>
                      </a:r>
                      <a:r>
                        <a:rPr lang="de-DE" sz="600" b="0" i="0" u="none" strike="noStrike" kern="1200" dirty="0" smtClean="0">
                          <a:solidFill>
                            <a:schemeClr val="accent6"/>
                          </a:solidFill>
                          <a:latin typeface="BMWTypeRegular" pitchFamily="34" charset="0"/>
                          <a:ea typeface="+mn-ea"/>
                          <a:cs typeface="+mn-cs"/>
                        </a:rPr>
                        <a:t>(</a:t>
                      </a:r>
                      <a:r>
                        <a:rPr lang="de-DE" sz="600" b="0" i="0" u="none" strike="noStrike" kern="1200" dirty="0" err="1" smtClean="0">
                          <a:solidFill>
                            <a:schemeClr val="accent6"/>
                          </a:solidFill>
                          <a:latin typeface="BMWTypeRegular" pitchFamily="34" charset="0"/>
                          <a:ea typeface="+mn-ea"/>
                          <a:cs typeface="+mn-cs"/>
                        </a:rPr>
                        <a:t>if</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necessary</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components</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from</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series-production</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materials</a:t>
                      </a:r>
                      <a:r>
                        <a:rPr lang="de-DE" sz="600" b="0" i="0" u="none" strike="noStrike" kern="1200" dirty="0" smtClean="0">
                          <a:solidFill>
                            <a:schemeClr val="accent6"/>
                          </a:solidFill>
                          <a:latin typeface="BMWTypeRegular" pitchFamily="34" charset="0"/>
                          <a:ea typeface="+mn-ea"/>
                          <a:cs typeface="+mn-cs"/>
                        </a:rPr>
                        <a:t>).</a:t>
                      </a:r>
                      <a:endParaRPr lang="de-DE" sz="600" b="0" i="0" u="none" strike="noStrike" kern="1200" dirty="0">
                        <a:solidFill>
                          <a:schemeClr val="accent6"/>
                        </a:solidFill>
                        <a:latin typeface="BMWTypeRegular" pitchFamily="34" charset="0"/>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64445">
                <a:tc>
                  <a:txBody>
                    <a:bodyPr/>
                    <a:lstStyle/>
                    <a:p>
                      <a:pPr algn="ctr"/>
                      <a:r>
                        <a:rPr lang="de-DE" sz="1400" b="1" smtClean="0">
                          <a:solidFill>
                            <a:schemeClr val="bg1"/>
                          </a:solidFill>
                        </a:rPr>
                        <a:t>Maturity level 4</a:t>
                      </a:r>
                      <a:endParaRPr lang="de-DE" sz="1400" b="1" dirty="0">
                        <a:solidFill>
                          <a:schemeClr val="bg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600" b="1" u="sng" dirty="0" err="1" smtClean="0">
                          <a:solidFill>
                            <a:schemeClr val="tx1"/>
                          </a:solidFill>
                          <a:latin typeface="BMWTypeRegular" pitchFamily="34" charset="0"/>
                        </a:rPr>
                        <a:t>Maturity</a:t>
                      </a:r>
                      <a:r>
                        <a:rPr lang="de-DE" sz="600" b="1" u="sng" dirty="0" smtClean="0">
                          <a:solidFill>
                            <a:schemeClr val="tx1"/>
                          </a:solidFill>
                          <a:latin typeface="BMWTypeRegular" pitchFamily="34" charset="0"/>
                        </a:rPr>
                        <a:t> </a:t>
                      </a:r>
                      <a:r>
                        <a:rPr lang="de-DE" sz="600" b="1" u="sng" dirty="0" err="1" smtClean="0">
                          <a:solidFill>
                            <a:schemeClr val="tx1"/>
                          </a:solidFill>
                          <a:latin typeface="BMWTypeRegular" pitchFamily="34" charset="0"/>
                        </a:rPr>
                        <a:t>aspects</a:t>
                      </a:r>
                      <a:r>
                        <a:rPr lang="de-DE" sz="600" b="1" u="sng" dirty="0" smtClean="0">
                          <a:solidFill>
                            <a:schemeClr val="tx1"/>
                          </a:solidFill>
                          <a:latin typeface="BMWTypeRegular" pitchFamily="34" charset="0"/>
                        </a:rPr>
                        <a:t> </a:t>
                      </a:r>
                      <a:r>
                        <a:rPr lang="de-DE" sz="600" b="1" u="sng" dirty="0" err="1" smtClean="0">
                          <a:solidFill>
                            <a:schemeClr val="tx1"/>
                          </a:solidFill>
                          <a:latin typeface="BMWTypeRegular" pitchFamily="34" charset="0"/>
                        </a:rPr>
                        <a:t>concerning</a:t>
                      </a:r>
                      <a:r>
                        <a:rPr lang="de-DE" sz="600" b="1" u="sng" dirty="0" smtClean="0">
                          <a:solidFill>
                            <a:schemeClr val="tx1"/>
                          </a:solidFill>
                          <a:latin typeface="BMWTypeRegular" pitchFamily="34" charset="0"/>
                        </a:rPr>
                        <a:t> </a:t>
                      </a:r>
                      <a:r>
                        <a:rPr lang="de-DE" sz="600" b="1" u="sng" dirty="0" err="1" smtClean="0">
                          <a:solidFill>
                            <a:schemeClr val="tx1"/>
                          </a:solidFill>
                          <a:latin typeface="BMWTypeRegular" pitchFamily="34" charset="0"/>
                        </a:rPr>
                        <a:t>product</a:t>
                      </a:r>
                      <a:r>
                        <a:rPr lang="de-DE" sz="600" b="1" u="sng" baseline="0" dirty="0" smtClean="0">
                          <a:solidFill>
                            <a:schemeClr val="tx1"/>
                          </a:solidFill>
                          <a:latin typeface="BMWTypeRegular" pitchFamily="34" charset="0"/>
                        </a:rPr>
                        <a:t> </a:t>
                      </a:r>
                      <a:r>
                        <a:rPr lang="de-DE" sz="600" b="1" u="sng" baseline="0" dirty="0" err="1" smtClean="0">
                          <a:solidFill>
                            <a:schemeClr val="tx1"/>
                          </a:solidFill>
                          <a:latin typeface="BMWTypeRegular" pitchFamily="34" charset="0"/>
                        </a:rPr>
                        <a:t>implementation</a:t>
                      </a:r>
                      <a:r>
                        <a:rPr lang="de-DE" sz="600" b="1" i="0" u="sng" strike="noStrike" dirty="0" smtClean="0">
                          <a:solidFill>
                            <a:srgbClr val="000000"/>
                          </a:solidFill>
                          <a:latin typeface="BMWTypeRegular" pitchFamily="34" charset="0"/>
                        </a:rPr>
                        <a:t>:</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Maturity</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element</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is</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completely</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represented</a:t>
                      </a:r>
                      <a:r>
                        <a:rPr lang="de-DE" sz="600" b="0" i="0" u="none" strike="noStrike" baseline="0" dirty="0" smtClean="0">
                          <a:solidFill>
                            <a:srgbClr val="000000"/>
                          </a:solidFill>
                          <a:latin typeface="BMWTypeRegular" pitchFamily="34" charset="0"/>
                        </a:rPr>
                        <a:t> in total </a:t>
                      </a:r>
                      <a:r>
                        <a:rPr lang="de-DE" sz="600" b="0" i="0" u="none" strike="noStrike" baseline="0" dirty="0" err="1" smtClean="0">
                          <a:solidFill>
                            <a:srgbClr val="000000"/>
                          </a:solidFill>
                          <a:latin typeface="BMWTypeRegular" pitchFamily="34" charset="0"/>
                        </a:rPr>
                        <a:t>vehicl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suitabl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for</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trial</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under</a:t>
                      </a:r>
                      <a:r>
                        <a:rPr lang="de-DE" sz="600" b="0" i="0" u="none" strike="noStrike" baseline="0" dirty="0" smtClean="0">
                          <a:solidFill>
                            <a:srgbClr val="000000"/>
                          </a:solidFill>
                          <a:latin typeface="BMWTypeRegular" pitchFamily="34" charset="0"/>
                        </a:rPr>
                        <a:t> all environmental </a:t>
                      </a:r>
                      <a:r>
                        <a:rPr lang="de-DE" sz="600" b="0" i="0" u="none" strike="noStrike" baseline="0" dirty="0" err="1" smtClean="0">
                          <a:solidFill>
                            <a:srgbClr val="000000"/>
                          </a:solidFill>
                          <a:latin typeface="BMWTypeRegular" pitchFamily="34" charset="0"/>
                        </a:rPr>
                        <a:t>conditions</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an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complet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integration</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is</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safeguarde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without</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collision</a:t>
                      </a:r>
                      <a:r>
                        <a:rPr lang="de-DE" sz="600" b="0" i="0" u="none" strike="noStrike" baseline="0" dirty="0" smtClean="0">
                          <a:solidFill>
                            <a:srgbClr val="000000"/>
                          </a:solidFill>
                          <a:latin typeface="BMWTypeRegular" pitchFamily="34" charset="0"/>
                        </a:rPr>
                        <a:t>. </a:t>
                      </a:r>
                      <a:endParaRPr lang="de-DE" sz="600" b="0" i="0" u="none" strike="noStrike" dirty="0" smtClean="0">
                        <a:solidFill>
                          <a:srgbClr val="FF0000"/>
                        </a:solidFill>
                        <a:latin typeface="BMWTypeRegular"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Evaluated</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measures</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of</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goal</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attainment</a:t>
                      </a:r>
                      <a:r>
                        <a:rPr lang="de-DE" sz="600" b="0" i="0" u="none" strike="noStrike" baseline="0" dirty="0" smtClean="0">
                          <a:solidFill>
                            <a:srgbClr val="000000"/>
                          </a:solidFill>
                          <a:latin typeface="BMWTypeRegular" pitchFamily="34" charset="0"/>
                        </a:rPr>
                        <a:t> DOC </a:t>
                      </a:r>
                      <a:r>
                        <a:rPr lang="de-DE" sz="600" b="0" i="0" u="none" strike="noStrike" baseline="0" dirty="0" err="1" smtClean="0">
                          <a:solidFill>
                            <a:srgbClr val="000000"/>
                          </a:solidFill>
                          <a:latin typeface="BMWTypeRegular" pitchFamily="34" charset="0"/>
                        </a:rPr>
                        <a:t>ar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mostly</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decided</a:t>
                      </a:r>
                      <a:r>
                        <a:rPr lang="de-DE" sz="600" b="0" i="0" u="none" strike="noStrike" baseline="0" dirty="0" smtClean="0">
                          <a:solidFill>
                            <a:srgbClr val="000000"/>
                          </a:solidFill>
                          <a:latin typeface="BMWTypeRegular" pitchFamily="34" charset="0"/>
                        </a:rPr>
                        <a:t>.</a:t>
                      </a:r>
                      <a:endParaRPr lang="de-DE" sz="600" b="0" i="0" u="none" strike="noStrike" dirty="0" smtClean="0">
                        <a:solidFill>
                          <a:srgbClr val="000000"/>
                        </a:solidFill>
                        <a:latin typeface="BMWTypeRegular"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dirty="0" smtClean="0">
                          <a:solidFill>
                            <a:srgbClr val="000000"/>
                          </a:solidFill>
                          <a:latin typeface="BMWTypeRegular" pitchFamily="34" charset="0"/>
                        </a:rPr>
                        <a:t>- Manufacturing </a:t>
                      </a:r>
                      <a:r>
                        <a:rPr lang="de-DE" sz="600" b="0" i="0" u="none" strike="noStrike" dirty="0" err="1" smtClean="0">
                          <a:solidFill>
                            <a:srgbClr val="000000"/>
                          </a:solidFill>
                          <a:latin typeface="BMWTypeRegular" pitchFamily="34" charset="0"/>
                        </a:rPr>
                        <a:t>feasibility</a:t>
                      </a:r>
                      <a:r>
                        <a:rPr lang="de-DE" sz="600" b="0" i="0" u="none" strike="noStrike" baseline="0" dirty="0" smtClean="0">
                          <a:solidFill>
                            <a:srgbClr val="000000"/>
                          </a:solidFill>
                          <a:latin typeface="BMWTypeRegular" pitchFamily="34" charset="0"/>
                        </a:rPr>
                        <a:t> on </a:t>
                      </a:r>
                      <a:r>
                        <a:rPr lang="de-DE" sz="600" b="0" i="0" u="none" strike="noStrike" baseline="0" dirty="0" err="1" smtClean="0">
                          <a:solidFill>
                            <a:srgbClr val="000000"/>
                          </a:solidFill>
                          <a:latin typeface="BMWTypeRegular" pitchFamily="34" charset="0"/>
                        </a:rPr>
                        <a:t>component</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level</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is</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confirmed</a:t>
                      </a:r>
                      <a:r>
                        <a:rPr lang="de-DE" sz="600" b="0" i="0" u="none" strike="noStrike" baseline="0" dirty="0" smtClean="0">
                          <a:solidFill>
                            <a:srgbClr val="000000"/>
                          </a:solidFill>
                          <a:latin typeface="BMWTypeRegular" pitchFamily="34" charset="0"/>
                        </a:rPr>
                        <a:t>. </a:t>
                      </a:r>
                      <a:endParaRPr lang="de-DE" sz="600" b="0" i="0" u="none" strike="noStrike" dirty="0" smtClean="0">
                        <a:solidFill>
                          <a:srgbClr val="FF0000"/>
                        </a:solidFill>
                        <a:latin typeface="BMWTypeRegular" pitchFamily="34" charset="0"/>
                      </a:endParaRPr>
                    </a:p>
                    <a:p>
                      <a:pPr marL="0" marR="0" indent="0" algn="l" defTabSz="914400" rtl="0" eaLnBrk="1" fontAlgn="auto" latinLnBrk="0" hangingPunct="1">
                        <a:lnSpc>
                          <a:spcPct val="100000"/>
                        </a:lnSpc>
                        <a:spcBef>
                          <a:spcPts val="0"/>
                        </a:spcBef>
                        <a:spcAft>
                          <a:spcPts val="0"/>
                        </a:spcAft>
                        <a:buClrTx/>
                        <a:buSzTx/>
                        <a:buFontTx/>
                        <a:buChar char="-"/>
                        <a:tabLst/>
                        <a:defRPr/>
                      </a:pP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Conditional</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driving</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permission</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for</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drivers</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with</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specific</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driving</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training</a:t>
                      </a:r>
                      <a:r>
                        <a:rPr lang="de-DE" sz="600" b="0" i="0" u="none" strike="noStrike" baseline="0" dirty="0" smtClean="0">
                          <a:solidFill>
                            <a:srgbClr val="000000"/>
                          </a:solidFill>
                          <a:latin typeface="BMWTypeRegular" pitchFamily="34" charset="0"/>
                        </a:rPr>
                        <a:t> </a:t>
                      </a:r>
                      <a:r>
                        <a:rPr lang="de-DE" sz="600" b="0" i="0" u="none" strike="noStrike" smtClean="0">
                          <a:solidFill>
                            <a:srgbClr val="000000"/>
                          </a:solidFill>
                          <a:latin typeface="BMWTypeRegular" pitchFamily="34" charset="0"/>
                        </a:rPr>
                        <a:t>(stage 3).</a:t>
                      </a:r>
                      <a:endParaRPr lang="de-DE" sz="600" b="0" i="0" u="none" strike="noStrike" dirty="0" smtClean="0">
                        <a:solidFill>
                          <a:srgbClr val="000000"/>
                        </a:solidFill>
                        <a:latin typeface="BMWTypeRegular"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600" b="1" i="0" u="sng" strike="noStrike" kern="1200" dirty="0" err="1" smtClean="0">
                          <a:solidFill>
                            <a:schemeClr val="accent6"/>
                          </a:solidFill>
                          <a:latin typeface="BMWTypeRegular" pitchFamily="34" charset="0"/>
                          <a:ea typeface="+mn-ea"/>
                          <a:cs typeface="+mn-cs"/>
                        </a:rPr>
                        <a:t>Maturity</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aspects</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concerning</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process</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requirements</a:t>
                      </a:r>
                      <a:r>
                        <a:rPr lang="de-DE" sz="600" b="1" i="0" u="sng" strike="noStrike" kern="1200" dirty="0" smtClean="0">
                          <a:solidFill>
                            <a:schemeClr val="accent6"/>
                          </a:solidFill>
                          <a:latin typeface="BMWTypeRegular" pitchFamily="34" charset="0"/>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kern="1200" dirty="0" smtClean="0">
                          <a:solidFill>
                            <a:schemeClr val="accent6"/>
                          </a:solidFill>
                          <a:latin typeface="BMWTypeRegular" pitchFamily="34" charset="0"/>
                          <a:ea typeface="+mn-ea"/>
                          <a:cs typeface="+mn-cs"/>
                        </a:rPr>
                        <a:t>- Components </a:t>
                      </a:r>
                      <a:r>
                        <a:rPr lang="de-DE" sz="600" b="0" i="0" u="none" strike="noStrike" kern="1200" dirty="0" err="1" smtClean="0">
                          <a:solidFill>
                            <a:schemeClr val="accent6"/>
                          </a:solidFill>
                          <a:latin typeface="BMWTypeRegular" pitchFamily="34" charset="0"/>
                          <a:ea typeface="+mn-ea"/>
                          <a:cs typeface="+mn-cs"/>
                        </a:rPr>
                        <a:t>of</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series-production</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materials</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provided</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by</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series</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supplier</a:t>
                      </a:r>
                      <a:r>
                        <a:rPr lang="de-DE" sz="600" b="0" i="0" u="none" strike="noStrike" kern="1200" dirty="0" smtClean="0">
                          <a:solidFill>
                            <a:schemeClr val="accent6"/>
                          </a:solidFill>
                          <a:latin typeface="BMWTypeRegular" pitchFamily="34" charset="0"/>
                          <a:ea typeface="+mn-ea"/>
                          <a:cs typeface="+mn-cs"/>
                        </a:rPr>
                        <a:t>.</a:t>
                      </a:r>
                      <a:r>
                        <a:rPr lang="de-DE" sz="600" b="0" i="0" u="none" strike="noStrike" kern="1200" baseline="0" dirty="0" smtClean="0">
                          <a:solidFill>
                            <a:schemeClr val="accent6"/>
                          </a:solidFill>
                          <a:latin typeface="BMWTypeRegular" pitchFamily="34" charset="0"/>
                          <a:ea typeface="+mn-ea"/>
                          <a:cs typeface="+mn-cs"/>
                        </a:rPr>
                        <a:t> </a:t>
                      </a:r>
                      <a:endParaRPr lang="de-DE" sz="600" b="0" i="0" u="none" strike="noStrike" kern="1200" dirty="0">
                        <a:solidFill>
                          <a:schemeClr val="accent6"/>
                        </a:solidFill>
                        <a:latin typeface="BMWTypeRegular" pitchFamily="34" charset="0"/>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49769">
                <a:tc>
                  <a:txBody>
                    <a:bodyPr/>
                    <a:lstStyle/>
                    <a:p>
                      <a:pPr algn="ctr"/>
                      <a:r>
                        <a:rPr lang="de-DE" sz="1400" b="1" smtClean="0">
                          <a:solidFill>
                            <a:schemeClr val="bg1"/>
                          </a:solidFill>
                        </a:rPr>
                        <a:t>Maturity</a:t>
                      </a:r>
                      <a:r>
                        <a:rPr lang="de-DE" sz="1400" b="1" baseline="0" smtClean="0">
                          <a:solidFill>
                            <a:schemeClr val="bg1"/>
                          </a:solidFill>
                        </a:rPr>
                        <a:t> level</a:t>
                      </a:r>
                      <a:r>
                        <a:rPr lang="de-DE" sz="1400" b="1" smtClean="0">
                          <a:solidFill>
                            <a:schemeClr val="bg1"/>
                          </a:solidFill>
                        </a:rPr>
                        <a:t> </a:t>
                      </a:r>
                      <a:r>
                        <a:rPr lang="de-DE" sz="1400" b="1" dirty="0" smtClean="0">
                          <a:solidFill>
                            <a:schemeClr val="bg1"/>
                          </a:solidFill>
                        </a:rPr>
                        <a:t>5</a:t>
                      </a:r>
                      <a:endParaRPr lang="de-DE" sz="1400" b="1" dirty="0">
                        <a:solidFill>
                          <a:schemeClr val="bg1"/>
                        </a:solidFill>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600" b="1" u="sng" dirty="0" err="1" smtClean="0">
                          <a:solidFill>
                            <a:schemeClr val="tx1"/>
                          </a:solidFill>
                          <a:latin typeface="BMWTypeRegular" pitchFamily="34" charset="0"/>
                        </a:rPr>
                        <a:t>Maturity</a:t>
                      </a:r>
                      <a:r>
                        <a:rPr lang="de-DE" sz="600" b="1" u="sng" dirty="0" smtClean="0">
                          <a:solidFill>
                            <a:schemeClr val="tx1"/>
                          </a:solidFill>
                          <a:latin typeface="BMWTypeRegular" pitchFamily="34" charset="0"/>
                        </a:rPr>
                        <a:t> </a:t>
                      </a:r>
                      <a:r>
                        <a:rPr lang="de-DE" sz="600" b="1" u="sng" dirty="0" err="1" smtClean="0">
                          <a:solidFill>
                            <a:schemeClr val="tx1"/>
                          </a:solidFill>
                          <a:latin typeface="BMWTypeRegular" pitchFamily="34" charset="0"/>
                        </a:rPr>
                        <a:t>aspects</a:t>
                      </a:r>
                      <a:r>
                        <a:rPr lang="de-DE" sz="600" b="1" u="sng" dirty="0" smtClean="0">
                          <a:solidFill>
                            <a:schemeClr val="tx1"/>
                          </a:solidFill>
                          <a:latin typeface="BMWTypeRegular" pitchFamily="34" charset="0"/>
                        </a:rPr>
                        <a:t> </a:t>
                      </a:r>
                      <a:r>
                        <a:rPr lang="de-DE" sz="600" b="1" u="sng" dirty="0" err="1" smtClean="0">
                          <a:solidFill>
                            <a:schemeClr val="tx1"/>
                          </a:solidFill>
                          <a:latin typeface="BMWTypeRegular" pitchFamily="34" charset="0"/>
                        </a:rPr>
                        <a:t>concerning</a:t>
                      </a:r>
                      <a:r>
                        <a:rPr lang="de-DE" sz="600" b="1" u="sng" dirty="0" smtClean="0">
                          <a:solidFill>
                            <a:schemeClr val="tx1"/>
                          </a:solidFill>
                          <a:latin typeface="BMWTypeRegular" pitchFamily="34" charset="0"/>
                        </a:rPr>
                        <a:t> </a:t>
                      </a:r>
                      <a:r>
                        <a:rPr lang="de-DE" sz="600" b="1" u="sng" dirty="0" err="1" smtClean="0">
                          <a:solidFill>
                            <a:schemeClr val="tx1"/>
                          </a:solidFill>
                          <a:latin typeface="BMWTypeRegular" pitchFamily="34" charset="0"/>
                        </a:rPr>
                        <a:t>product</a:t>
                      </a:r>
                      <a:r>
                        <a:rPr lang="de-DE" sz="600" b="1" u="sng" baseline="0" dirty="0" smtClean="0">
                          <a:solidFill>
                            <a:schemeClr val="tx1"/>
                          </a:solidFill>
                          <a:latin typeface="BMWTypeRegular" pitchFamily="34" charset="0"/>
                        </a:rPr>
                        <a:t> </a:t>
                      </a:r>
                      <a:r>
                        <a:rPr lang="de-DE" sz="600" b="1" u="sng" baseline="0" dirty="0" err="1" smtClean="0">
                          <a:solidFill>
                            <a:schemeClr val="tx1"/>
                          </a:solidFill>
                          <a:latin typeface="BMWTypeRegular" pitchFamily="34" charset="0"/>
                        </a:rPr>
                        <a:t>implementation</a:t>
                      </a:r>
                      <a:r>
                        <a:rPr lang="de-DE" sz="600" b="1" i="0" u="sng" strike="noStrike" dirty="0" smtClean="0">
                          <a:solidFill>
                            <a:srgbClr val="000000"/>
                          </a:solidFill>
                          <a:latin typeface="BMWTypeRegular" pitchFamily="34" charset="0"/>
                        </a:rPr>
                        <a:t>:</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Maturity</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element</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is</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completely</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represented</a:t>
                      </a:r>
                      <a:r>
                        <a:rPr lang="de-DE" sz="600" b="0" i="0" u="none" strike="noStrike" baseline="0" dirty="0" smtClean="0">
                          <a:solidFill>
                            <a:srgbClr val="000000"/>
                          </a:solidFill>
                          <a:latin typeface="BMWTypeRegular" pitchFamily="34" charset="0"/>
                        </a:rPr>
                        <a:t> in total </a:t>
                      </a:r>
                      <a:r>
                        <a:rPr lang="de-DE" sz="600" b="0" i="0" u="none" strike="noStrike" baseline="0" dirty="0" err="1" smtClean="0">
                          <a:solidFill>
                            <a:srgbClr val="000000"/>
                          </a:solidFill>
                          <a:latin typeface="BMWTypeRegular" pitchFamily="34" charset="0"/>
                        </a:rPr>
                        <a:t>vehicle</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without</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limitations</a:t>
                      </a:r>
                      <a:r>
                        <a:rPr lang="de-DE" sz="600" b="0" i="0" u="none" strike="noStrike" baseline="0" dirty="0" smtClean="0">
                          <a:solidFill>
                            <a:srgbClr val="000000"/>
                          </a:solidFill>
                          <a:latin typeface="BMWTypeRegular" pitchFamily="34" charset="0"/>
                        </a:rPr>
                        <a:t>.</a:t>
                      </a:r>
                      <a:endParaRPr lang="de-DE" sz="600" b="0" i="0" u="none" strike="noStrike" dirty="0" smtClean="0">
                        <a:solidFill>
                          <a:srgbClr val="000000"/>
                        </a:solidFill>
                        <a:latin typeface="BMWTypeRegular"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Maturity</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elements</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are</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ready</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for</a:t>
                      </a:r>
                      <a:r>
                        <a:rPr lang="de-DE" sz="600" b="0" i="0" u="none" strike="noStrike" dirty="0" smtClean="0">
                          <a:solidFill>
                            <a:srgbClr val="000000"/>
                          </a:solidFill>
                          <a:latin typeface="BMWTypeRegular" pitchFamily="34" charset="0"/>
                        </a:rPr>
                        <a:t> type </a:t>
                      </a:r>
                      <a:r>
                        <a:rPr lang="de-DE" sz="600" b="0" i="0" u="none" strike="noStrike" dirty="0" err="1" smtClean="0">
                          <a:solidFill>
                            <a:srgbClr val="000000"/>
                          </a:solidFill>
                          <a:latin typeface="BMWTypeRegular" pitchFamily="34" charset="0"/>
                        </a:rPr>
                        <a:t>testing</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and</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homologation</a:t>
                      </a:r>
                      <a:r>
                        <a:rPr lang="de-DE" sz="600" b="0" i="0" u="none" strike="noStrike" dirty="0" smtClean="0">
                          <a:solidFill>
                            <a:srgbClr val="000000"/>
                          </a:solidFill>
                          <a:latin typeface="BMWTypeRegular" pitchFamily="34" charset="0"/>
                        </a:rPr>
                        <a:t>. </a:t>
                      </a:r>
                      <a:endParaRPr lang="de-DE" sz="600" b="0" i="0" u="none" strike="noStrike" dirty="0" smtClean="0">
                        <a:solidFill>
                          <a:srgbClr val="FF0000"/>
                        </a:solidFill>
                        <a:latin typeface="BMWTypeRegular"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dirty="0" smtClean="0">
                          <a:solidFill>
                            <a:srgbClr val="000000"/>
                          </a:solidFill>
                          <a:latin typeface="BMWTypeRegular" pitchFamily="34" charset="0"/>
                        </a:rPr>
                        <a:t>- Manufacturing </a:t>
                      </a:r>
                      <a:r>
                        <a:rPr lang="de-DE" sz="600" b="0" i="0" u="none" strike="noStrike" dirty="0" err="1" smtClean="0">
                          <a:solidFill>
                            <a:srgbClr val="000000"/>
                          </a:solidFill>
                          <a:latin typeface="BMWTypeRegular" pitchFamily="34" charset="0"/>
                        </a:rPr>
                        <a:t>feasibility</a:t>
                      </a:r>
                      <a:r>
                        <a:rPr lang="de-DE" sz="600" b="0" i="0" u="none" strike="noStrike" baseline="0" dirty="0" smtClean="0">
                          <a:solidFill>
                            <a:srgbClr val="000000"/>
                          </a:solidFill>
                          <a:latin typeface="BMWTypeRegular" pitchFamily="34" charset="0"/>
                        </a:rPr>
                        <a:t> on </a:t>
                      </a:r>
                      <a:r>
                        <a:rPr lang="de-DE" sz="600" b="0" i="0" u="none" strike="noStrike" baseline="0" dirty="0" err="1" smtClean="0">
                          <a:solidFill>
                            <a:srgbClr val="000000"/>
                          </a:solidFill>
                          <a:latin typeface="BMWTypeRegular" pitchFamily="34" charset="0"/>
                        </a:rPr>
                        <a:t>component</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level</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is</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proved</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by</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series</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tool</a:t>
                      </a:r>
                      <a:r>
                        <a:rPr lang="de-DE" sz="600" b="0" i="0" u="none" strike="noStrike" baseline="0" dirty="0" smtClean="0">
                          <a:solidFill>
                            <a:srgbClr val="000000"/>
                          </a:solidFill>
                          <a:latin typeface="BMWTypeRegular" pitchFamily="34" charset="0"/>
                        </a:rPr>
                        <a:t>. </a:t>
                      </a:r>
                      <a:endParaRPr lang="de-DE" sz="600" b="0" i="0" u="none" strike="noStrike" dirty="0" smtClean="0">
                        <a:solidFill>
                          <a:srgbClr val="FF0000"/>
                        </a:solidFill>
                        <a:latin typeface="BMWTypeRegular" pitchFamily="34" charset="0"/>
                      </a:endParaRPr>
                    </a:p>
                    <a:p>
                      <a:pPr marL="0" marR="0" indent="0" algn="l" defTabSz="914400" rtl="0" eaLnBrk="1" fontAlgn="auto" latinLnBrk="0" hangingPunct="1">
                        <a:lnSpc>
                          <a:spcPct val="100000"/>
                        </a:lnSpc>
                        <a:spcBef>
                          <a:spcPts val="0"/>
                        </a:spcBef>
                        <a:spcAft>
                          <a:spcPts val="0"/>
                        </a:spcAft>
                        <a:buClrTx/>
                        <a:buSzTx/>
                        <a:buFontTx/>
                        <a:buChar char="-"/>
                        <a:tabLst/>
                        <a:defRPr/>
                      </a:pPr>
                      <a:r>
                        <a:rPr lang="de-DE" sz="600" b="0" i="0" u="none" strike="noStrike" dirty="0" smtClean="0">
                          <a:solidFill>
                            <a:srgbClr val="000000"/>
                          </a:solidFill>
                          <a:latin typeface="BMWTypeRegular" pitchFamily="34" charset="0"/>
                        </a:rPr>
                        <a:t> Street </a:t>
                      </a:r>
                      <a:r>
                        <a:rPr lang="de-DE" sz="600" b="0" i="0" u="none" strike="noStrike" dirty="0" err="1" smtClean="0">
                          <a:solidFill>
                            <a:srgbClr val="000000"/>
                          </a:solidFill>
                          <a:latin typeface="BMWTypeRegular" pitchFamily="34" charset="0"/>
                        </a:rPr>
                        <a:t>driving</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permission</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without</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limitations</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stage</a:t>
                      </a:r>
                      <a:r>
                        <a:rPr lang="de-DE" sz="600" b="0" i="0" u="none" strike="noStrike" dirty="0" smtClean="0">
                          <a:solidFill>
                            <a:srgbClr val="000000"/>
                          </a:solidFill>
                          <a:latin typeface="BMWTypeRegular" pitchFamily="34" charset="0"/>
                        </a:rPr>
                        <a:t> 3).</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1" i="0" u="sng" strike="noStrike" kern="1200" dirty="0" err="1" smtClean="0">
                          <a:solidFill>
                            <a:schemeClr val="accent6"/>
                          </a:solidFill>
                          <a:latin typeface="BMWTypeRegular" pitchFamily="34" charset="0"/>
                          <a:ea typeface="+mn-ea"/>
                          <a:cs typeface="+mn-cs"/>
                        </a:rPr>
                        <a:t>Maturity</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aspects</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concerning</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process</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requirements</a:t>
                      </a:r>
                      <a:r>
                        <a:rPr lang="de-DE" sz="600" b="1" i="0" u="sng" strike="noStrike" kern="1200" dirty="0" smtClean="0">
                          <a:solidFill>
                            <a:schemeClr val="accent6"/>
                          </a:solidFill>
                          <a:latin typeface="BMWTypeRegular" pitchFamily="34" charset="0"/>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kern="1200" dirty="0" smtClean="0">
                          <a:solidFill>
                            <a:schemeClr val="accent6"/>
                          </a:solidFill>
                          <a:latin typeface="BMWTypeRegular" pitchFamily="34" charset="0"/>
                          <a:ea typeface="+mn-ea"/>
                          <a:cs typeface="+mn-cs"/>
                        </a:rPr>
                        <a:t>- Components </a:t>
                      </a:r>
                      <a:r>
                        <a:rPr lang="de-DE" sz="600" b="0" i="0" u="none" strike="noStrike" kern="1200" dirty="0" err="1" smtClean="0">
                          <a:solidFill>
                            <a:schemeClr val="accent6"/>
                          </a:solidFill>
                          <a:latin typeface="BMWTypeRegular" pitchFamily="34" charset="0"/>
                          <a:ea typeface="+mn-ea"/>
                          <a:cs typeface="+mn-cs"/>
                        </a:rPr>
                        <a:t>of</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series</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tool</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and</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dirty="0" err="1" smtClean="0">
                          <a:solidFill>
                            <a:schemeClr val="accent6"/>
                          </a:solidFill>
                          <a:latin typeface="BMWTypeRegular" pitchFamily="34" charset="0"/>
                          <a:ea typeface="+mn-ea"/>
                          <a:cs typeface="+mn-cs"/>
                        </a:rPr>
                        <a:t>series</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err="1" smtClean="0">
                          <a:solidFill>
                            <a:schemeClr val="accent6"/>
                          </a:solidFill>
                          <a:latin typeface="BMWTypeRegular" pitchFamily="34" charset="0"/>
                          <a:ea typeface="+mn-ea"/>
                          <a:cs typeface="+mn-cs"/>
                        </a:rPr>
                        <a:t>production</a:t>
                      </a:r>
                      <a:r>
                        <a:rPr lang="de-DE" sz="600" b="0" i="0" u="none" strike="noStrike" kern="1200" smtClean="0">
                          <a:solidFill>
                            <a:schemeClr val="accent6"/>
                          </a:solidFill>
                          <a:latin typeface="BMWTypeRegular" pitchFamily="34" charset="0"/>
                          <a:ea typeface="+mn-ea"/>
                          <a:cs typeface="+mn-cs"/>
                        </a:rPr>
                        <a:t>.</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4863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400" b="1" smtClean="0">
                          <a:solidFill>
                            <a:schemeClr val="bg1"/>
                          </a:solidFill>
                        </a:rPr>
                        <a:t>Maturity level </a:t>
                      </a:r>
                      <a:r>
                        <a:rPr lang="de-DE" sz="1400" b="1" dirty="0" smtClean="0">
                          <a:solidFill>
                            <a:schemeClr val="bg1"/>
                          </a:solidFill>
                        </a:rPr>
                        <a:t>6</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7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600" b="1" u="sng" dirty="0" err="1" smtClean="0">
                          <a:solidFill>
                            <a:schemeClr val="tx1"/>
                          </a:solidFill>
                          <a:latin typeface="BMWTypeRegular" pitchFamily="34" charset="0"/>
                        </a:rPr>
                        <a:t>Maturity</a:t>
                      </a:r>
                      <a:r>
                        <a:rPr lang="de-DE" sz="600" b="1" u="sng" dirty="0" smtClean="0">
                          <a:solidFill>
                            <a:schemeClr val="tx1"/>
                          </a:solidFill>
                          <a:latin typeface="BMWTypeRegular" pitchFamily="34" charset="0"/>
                        </a:rPr>
                        <a:t> </a:t>
                      </a:r>
                      <a:r>
                        <a:rPr lang="de-DE" sz="600" b="1" u="sng" dirty="0" err="1" smtClean="0">
                          <a:solidFill>
                            <a:schemeClr val="tx1"/>
                          </a:solidFill>
                          <a:latin typeface="BMWTypeRegular" pitchFamily="34" charset="0"/>
                        </a:rPr>
                        <a:t>aspects</a:t>
                      </a:r>
                      <a:r>
                        <a:rPr lang="de-DE" sz="600" b="1" u="sng" dirty="0" smtClean="0">
                          <a:solidFill>
                            <a:schemeClr val="tx1"/>
                          </a:solidFill>
                          <a:latin typeface="BMWTypeRegular" pitchFamily="34" charset="0"/>
                        </a:rPr>
                        <a:t> </a:t>
                      </a:r>
                      <a:r>
                        <a:rPr lang="de-DE" sz="600" b="1" u="sng" dirty="0" err="1" smtClean="0">
                          <a:solidFill>
                            <a:schemeClr val="tx1"/>
                          </a:solidFill>
                          <a:latin typeface="BMWTypeRegular" pitchFamily="34" charset="0"/>
                        </a:rPr>
                        <a:t>concerning</a:t>
                      </a:r>
                      <a:r>
                        <a:rPr lang="de-DE" sz="600" b="1" u="sng" dirty="0" smtClean="0">
                          <a:solidFill>
                            <a:schemeClr val="tx1"/>
                          </a:solidFill>
                          <a:latin typeface="BMWTypeRegular" pitchFamily="34" charset="0"/>
                        </a:rPr>
                        <a:t> </a:t>
                      </a:r>
                      <a:r>
                        <a:rPr lang="de-DE" sz="600" b="1" u="sng" dirty="0" err="1" smtClean="0">
                          <a:solidFill>
                            <a:schemeClr val="tx1"/>
                          </a:solidFill>
                          <a:latin typeface="BMWTypeRegular" pitchFamily="34" charset="0"/>
                        </a:rPr>
                        <a:t>product</a:t>
                      </a:r>
                      <a:r>
                        <a:rPr lang="de-DE" sz="600" b="1" u="sng" baseline="0" dirty="0" smtClean="0">
                          <a:solidFill>
                            <a:schemeClr val="tx1"/>
                          </a:solidFill>
                          <a:latin typeface="BMWTypeRegular" pitchFamily="34" charset="0"/>
                        </a:rPr>
                        <a:t> </a:t>
                      </a:r>
                      <a:r>
                        <a:rPr lang="de-DE" sz="600" b="1" u="sng" baseline="0" dirty="0" err="1" smtClean="0">
                          <a:solidFill>
                            <a:schemeClr val="tx1"/>
                          </a:solidFill>
                          <a:latin typeface="BMWTypeRegular" pitchFamily="34" charset="0"/>
                        </a:rPr>
                        <a:t>implementation</a:t>
                      </a:r>
                      <a:r>
                        <a:rPr lang="de-DE" sz="600" b="1" i="0" u="sng" strike="noStrike" dirty="0" smtClean="0">
                          <a:solidFill>
                            <a:srgbClr val="000000"/>
                          </a:solidFill>
                          <a:latin typeface="BMWTypeRegular" pitchFamily="34" charset="0"/>
                        </a:rPr>
                        <a:t>:</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Maturity</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element</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is</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ready</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for</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series</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production</a:t>
                      </a:r>
                      <a:r>
                        <a:rPr lang="de-DE" sz="600" b="0" i="0" u="none" strike="noStrike" dirty="0" smtClean="0">
                          <a:solidFill>
                            <a:srgbClr val="000000"/>
                          </a:solidFill>
                          <a:latin typeface="BMWTypeRegular" pitchFamily="34" charset="0"/>
                        </a:rPr>
                        <a:t>.</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Maturity</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element</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is</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represented</a:t>
                      </a:r>
                      <a:r>
                        <a:rPr lang="de-DE" sz="600" b="0" i="0" u="none" strike="noStrike" dirty="0" smtClean="0">
                          <a:solidFill>
                            <a:srgbClr val="000000"/>
                          </a:solidFill>
                          <a:latin typeface="BMWTypeRegular" pitchFamily="34" charset="0"/>
                        </a:rPr>
                        <a:t> in all </a:t>
                      </a:r>
                      <a:r>
                        <a:rPr lang="de-DE" sz="600" b="0" i="0" u="none" strike="noStrike" dirty="0" err="1" smtClean="0">
                          <a:solidFill>
                            <a:srgbClr val="000000"/>
                          </a:solidFill>
                          <a:latin typeface="BMWTypeRegular" pitchFamily="34" charset="0"/>
                        </a:rPr>
                        <a:t>treated</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versions</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without</a:t>
                      </a:r>
                      <a:r>
                        <a:rPr lang="de-DE" sz="600" b="0" i="0" u="none" strike="noStrike" baseline="0" dirty="0" smtClean="0">
                          <a:solidFill>
                            <a:srgbClr val="000000"/>
                          </a:solidFill>
                          <a:latin typeface="BMWTypeRegular" pitchFamily="34" charset="0"/>
                        </a:rPr>
                        <a:t> </a:t>
                      </a:r>
                      <a:r>
                        <a:rPr lang="de-DE" sz="600" b="0" i="0" u="none" strike="noStrike" baseline="0" dirty="0" err="1" smtClean="0">
                          <a:solidFill>
                            <a:srgbClr val="000000"/>
                          </a:solidFill>
                          <a:latin typeface="BMWTypeRegular" pitchFamily="34" charset="0"/>
                        </a:rPr>
                        <a:t>limitations</a:t>
                      </a:r>
                      <a:r>
                        <a:rPr lang="de-DE" sz="600" b="0" i="0" u="none" strike="noStrike" baseline="0" dirty="0" smtClean="0">
                          <a:solidFill>
                            <a:srgbClr val="000000"/>
                          </a:solidFill>
                          <a:latin typeface="BMWTypeRegular" pitchFamily="34" charset="0"/>
                        </a:rPr>
                        <a:t>. </a:t>
                      </a:r>
                      <a:endParaRPr lang="de-DE" sz="600" b="0" i="0" u="none" strike="noStrike" dirty="0" smtClean="0">
                        <a:solidFill>
                          <a:srgbClr val="000000"/>
                        </a:solidFill>
                        <a:latin typeface="BMWTypeRegular" pitchFamily="34" charset="0"/>
                      </a:endParaRPr>
                    </a:p>
                    <a:p>
                      <a:pPr marL="0" marR="0" indent="0" algn="l" defTabSz="914400" rtl="0" eaLnBrk="1" fontAlgn="auto" latinLnBrk="0" hangingPunct="1">
                        <a:lnSpc>
                          <a:spcPct val="100000"/>
                        </a:lnSpc>
                        <a:spcBef>
                          <a:spcPts val="0"/>
                        </a:spcBef>
                        <a:spcAft>
                          <a:spcPts val="0"/>
                        </a:spcAft>
                        <a:buClrTx/>
                        <a:buSzTx/>
                        <a:buFontTx/>
                        <a:buChar char="-"/>
                        <a:tabLst/>
                        <a:defRPr/>
                      </a:pP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Usage</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without</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limitations</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with</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street</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driving</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permission</a:t>
                      </a:r>
                      <a:r>
                        <a:rPr lang="de-DE" sz="600" b="0" i="0" u="none" strike="noStrike" dirty="0" smtClean="0">
                          <a:solidFill>
                            <a:srgbClr val="000000"/>
                          </a:solidFill>
                          <a:latin typeface="BMWTypeRegular" pitchFamily="34" charset="0"/>
                        </a:rPr>
                        <a:t> (</a:t>
                      </a:r>
                      <a:r>
                        <a:rPr lang="de-DE" sz="600" b="0" i="0" u="none" strike="noStrike" dirty="0" err="1" smtClean="0">
                          <a:solidFill>
                            <a:srgbClr val="000000"/>
                          </a:solidFill>
                          <a:latin typeface="BMWTypeRegular" pitchFamily="34" charset="0"/>
                        </a:rPr>
                        <a:t>stage</a:t>
                      </a:r>
                      <a:r>
                        <a:rPr lang="de-DE" sz="600" b="0" i="0" u="none" strike="noStrike" baseline="0" dirty="0" smtClean="0">
                          <a:solidFill>
                            <a:srgbClr val="000000"/>
                          </a:solidFill>
                          <a:latin typeface="BMWTypeRegular" pitchFamily="34" charset="0"/>
                        </a:rPr>
                        <a:t> </a:t>
                      </a:r>
                      <a:r>
                        <a:rPr lang="de-DE" sz="600" b="0" i="0" u="none" strike="noStrike" dirty="0" smtClean="0">
                          <a:solidFill>
                            <a:srgbClr val="000000"/>
                          </a:solidFill>
                          <a:latin typeface="BMWTypeRegular" pitchFamily="34" charset="0"/>
                        </a:rPr>
                        <a:t>4).</a:t>
                      </a:r>
                    </a:p>
                    <a:p>
                      <a:pPr marL="0" marR="0" indent="0" algn="l" defTabSz="914400" rtl="0" eaLnBrk="1" fontAlgn="auto" latinLnBrk="0" hangingPunct="1">
                        <a:lnSpc>
                          <a:spcPct val="100000"/>
                        </a:lnSpc>
                        <a:spcBef>
                          <a:spcPts val="0"/>
                        </a:spcBef>
                        <a:spcAft>
                          <a:spcPts val="0"/>
                        </a:spcAft>
                        <a:buClrTx/>
                        <a:buSzTx/>
                        <a:buFontTx/>
                        <a:buNone/>
                        <a:tabLst/>
                        <a:defRPr/>
                      </a:pPr>
                      <a:r>
                        <a:rPr lang="de-DE" sz="600" b="1" i="0" u="sng" strike="noStrike" kern="1200" dirty="0" err="1" smtClean="0">
                          <a:solidFill>
                            <a:schemeClr val="accent6"/>
                          </a:solidFill>
                          <a:latin typeface="BMWTypeRegular" pitchFamily="34" charset="0"/>
                          <a:ea typeface="+mn-ea"/>
                          <a:cs typeface="+mn-cs"/>
                        </a:rPr>
                        <a:t>Maturity</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aspects</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concerning</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process</a:t>
                      </a:r>
                      <a:r>
                        <a:rPr lang="de-DE" sz="600" b="1" i="0" u="sng" strike="noStrike" kern="1200" dirty="0" smtClean="0">
                          <a:solidFill>
                            <a:schemeClr val="accent6"/>
                          </a:solidFill>
                          <a:latin typeface="BMWTypeRegular" pitchFamily="34" charset="0"/>
                          <a:ea typeface="+mn-ea"/>
                          <a:cs typeface="+mn-cs"/>
                        </a:rPr>
                        <a:t> </a:t>
                      </a:r>
                      <a:r>
                        <a:rPr lang="de-DE" sz="600" b="1" i="0" u="sng" strike="noStrike" kern="1200" dirty="0" err="1" smtClean="0">
                          <a:solidFill>
                            <a:schemeClr val="accent6"/>
                          </a:solidFill>
                          <a:latin typeface="BMWTypeRegular" pitchFamily="34" charset="0"/>
                          <a:ea typeface="+mn-ea"/>
                          <a:cs typeface="+mn-cs"/>
                        </a:rPr>
                        <a:t>requirements</a:t>
                      </a:r>
                      <a:r>
                        <a:rPr lang="de-DE" sz="600" b="1" i="0" u="sng" strike="noStrike" kern="1200" dirty="0" smtClean="0">
                          <a:solidFill>
                            <a:schemeClr val="accent6"/>
                          </a:solidFill>
                          <a:latin typeface="BMWTypeRegular" pitchFamily="34" charset="0"/>
                          <a:ea typeface="+mn-ea"/>
                          <a:cs typeface="+mn-cs"/>
                        </a:rPr>
                        <a:t>:</a:t>
                      </a:r>
                    </a:p>
                    <a:p>
                      <a:pPr marL="0" marR="0" indent="0" algn="l" defTabSz="914400" rtl="0" eaLnBrk="1" fontAlgn="auto" latinLnBrk="0" hangingPunct="1">
                        <a:lnSpc>
                          <a:spcPct val="100000"/>
                        </a:lnSpc>
                        <a:spcBef>
                          <a:spcPts val="0"/>
                        </a:spcBef>
                        <a:spcAft>
                          <a:spcPts val="0"/>
                        </a:spcAft>
                        <a:buClrTx/>
                        <a:buSzTx/>
                        <a:buFontTx/>
                        <a:buChar char="-"/>
                        <a:tabLst/>
                        <a:defRPr/>
                      </a:pPr>
                      <a:r>
                        <a:rPr lang="de-DE" sz="600" b="0" i="0" u="none" strike="noStrike" kern="1200" smtClean="0">
                          <a:solidFill>
                            <a:schemeClr val="accent6"/>
                          </a:solidFill>
                          <a:latin typeface="BMWTypeRegular" pitchFamily="34" charset="0"/>
                          <a:ea typeface="+mn-ea"/>
                          <a:cs typeface="+mn-cs"/>
                        </a:rPr>
                        <a:t> Stabile </a:t>
                      </a:r>
                      <a:r>
                        <a:rPr lang="de-DE" sz="600" b="0" i="0" u="none" strike="noStrike" kern="1200" dirty="0" err="1" smtClean="0">
                          <a:solidFill>
                            <a:schemeClr val="accent6"/>
                          </a:solidFill>
                          <a:latin typeface="BMWTypeRegular" pitchFamily="34" charset="0"/>
                          <a:ea typeface="+mn-ea"/>
                          <a:cs typeface="+mn-cs"/>
                        </a:rPr>
                        <a:t>series</a:t>
                      </a:r>
                      <a:r>
                        <a:rPr lang="de-DE" sz="600" b="0" i="0" u="none" strike="noStrike" kern="1200" dirty="0" smtClean="0">
                          <a:solidFill>
                            <a:schemeClr val="accent6"/>
                          </a:solidFill>
                          <a:latin typeface="BMWTypeRegular" pitchFamily="34" charset="0"/>
                          <a:ea typeface="+mn-ea"/>
                          <a:cs typeface="+mn-cs"/>
                        </a:rPr>
                        <a:t> </a:t>
                      </a:r>
                      <a:r>
                        <a:rPr lang="de-DE" sz="600" b="0" i="0" u="none" strike="noStrike" kern="1200" err="1" smtClean="0">
                          <a:solidFill>
                            <a:schemeClr val="accent6"/>
                          </a:solidFill>
                          <a:latin typeface="BMWTypeRegular" pitchFamily="34" charset="0"/>
                          <a:ea typeface="+mn-ea"/>
                          <a:cs typeface="+mn-cs"/>
                        </a:rPr>
                        <a:t>process</a:t>
                      </a:r>
                      <a:r>
                        <a:rPr lang="de-DE" sz="600" b="0" i="0" u="none" strike="noStrike" kern="1200" smtClean="0">
                          <a:solidFill>
                            <a:schemeClr val="accent6"/>
                          </a:solidFill>
                          <a:latin typeface="BMWTypeRegular" pitchFamily="34" charset="0"/>
                          <a:ea typeface="+mn-ea"/>
                          <a:cs typeface="+mn-cs"/>
                        </a:rPr>
                        <a:t>.</a:t>
                      </a:r>
                    </a:p>
                    <a:p>
                      <a:pPr marL="0" marR="0" indent="0" algn="l" defTabSz="914400" rtl="0" eaLnBrk="1" fontAlgn="auto" latinLnBrk="0" hangingPunct="1">
                        <a:lnSpc>
                          <a:spcPct val="100000"/>
                        </a:lnSpc>
                        <a:spcBef>
                          <a:spcPts val="0"/>
                        </a:spcBef>
                        <a:spcAft>
                          <a:spcPts val="0"/>
                        </a:spcAft>
                        <a:buClrTx/>
                        <a:buSzTx/>
                        <a:buFontTx/>
                        <a:buChar char="-"/>
                        <a:tabLst/>
                        <a:defRPr/>
                      </a:pPr>
                      <a:r>
                        <a:rPr lang="de-DE" sz="600" b="0" i="0" u="none" strike="noStrike" kern="1200" smtClean="0">
                          <a:solidFill>
                            <a:schemeClr val="accent6"/>
                          </a:solidFill>
                          <a:latin typeface="BMWTypeRegular" pitchFamily="34" charset="0"/>
                          <a:ea typeface="+mn-ea"/>
                          <a:cs typeface="+mn-cs"/>
                        </a:rPr>
                        <a:t> Process capability of production systems is confirmed.</a:t>
                      </a:r>
                      <a:endParaRPr lang="de-DE" sz="600" b="0" i="0" u="none" strike="noStrike" kern="1200" dirty="0">
                        <a:solidFill>
                          <a:schemeClr val="accent6"/>
                        </a:solidFill>
                        <a:latin typeface="BMWTypeRegular" pitchFamily="34" charset="0"/>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8" name="Foliennummernplatzhalter 27"/>
          <p:cNvSpPr txBox="1">
            <a:spLocks/>
          </p:cNvSpPr>
          <p:nvPr/>
        </p:nvSpPr>
        <p:spPr>
          <a:xfrm>
            <a:off x="6553200" y="6528871"/>
            <a:ext cx="2124075" cy="329130"/>
          </a:xfrm>
          <a:prstGeom prst="rect">
            <a:avLst/>
          </a:prstGeom>
        </p:spPr>
        <p:txBody>
          <a:bodyPr vert="horz"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smtClean="0">
                <a:ln>
                  <a:noFill/>
                </a:ln>
                <a:solidFill>
                  <a:schemeClr val="tx1"/>
                </a:solidFill>
                <a:effectLst/>
                <a:uLnTx/>
                <a:uFillTx/>
                <a:latin typeface="+mn-lt"/>
                <a:ea typeface="+mn-ea"/>
                <a:cs typeface="+mn-cs"/>
              </a:rPr>
              <a:t>Slide </a:t>
            </a:r>
            <a:fld id="{AA807A42-CF27-4B84-8583-18EBE418342E}" type="slidenum">
              <a:rPr kumimoji="0" lang="de-DE"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9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Textfeld 10"/>
          <p:cNvSpPr txBox="1"/>
          <p:nvPr/>
        </p:nvSpPr>
        <p:spPr>
          <a:xfrm>
            <a:off x="3733800" y="6581001"/>
            <a:ext cx="5410200" cy="276999"/>
          </a:xfrm>
          <a:prstGeom prst="rect">
            <a:avLst/>
          </a:prstGeom>
          <a:noFill/>
        </p:spPr>
        <p:txBody>
          <a:bodyPr wrap="square" rtlCol="0">
            <a:spAutoFit/>
          </a:bodyPr>
          <a:lstStyle/>
          <a:p>
            <a:r>
              <a:rPr lang="de-DE" sz="1200" b="1" smtClean="0">
                <a:solidFill>
                  <a:srgbClr val="FF0000"/>
                </a:solidFill>
              </a:rPr>
              <a:t>Implementation of maturity levels is related to the end of a maturity step</a:t>
            </a:r>
            <a:endParaRPr lang="de-DE" sz="1200" b="1" dirty="0">
              <a:solidFill>
                <a:srgbClr val="FF0000"/>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hteck 44"/>
          <p:cNvSpPr/>
          <p:nvPr/>
        </p:nvSpPr>
        <p:spPr>
          <a:xfrm>
            <a:off x="1964310" y="3962400"/>
            <a:ext cx="1123950" cy="46672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48" name="Rechteck 47"/>
          <p:cNvSpPr/>
          <p:nvPr/>
        </p:nvSpPr>
        <p:spPr>
          <a:xfrm>
            <a:off x="3088260" y="3494087"/>
            <a:ext cx="1123950" cy="93503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49" name="Rechteck 48"/>
          <p:cNvSpPr/>
          <p:nvPr/>
        </p:nvSpPr>
        <p:spPr>
          <a:xfrm>
            <a:off x="4202685" y="3055938"/>
            <a:ext cx="1123950" cy="137318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50" name="Rechteck 49"/>
          <p:cNvSpPr/>
          <p:nvPr/>
        </p:nvSpPr>
        <p:spPr>
          <a:xfrm>
            <a:off x="5326635" y="2608264"/>
            <a:ext cx="1123950" cy="1820862"/>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51" name="Rechteck 50"/>
          <p:cNvSpPr/>
          <p:nvPr/>
        </p:nvSpPr>
        <p:spPr>
          <a:xfrm>
            <a:off x="6431535" y="2151064"/>
            <a:ext cx="1123950" cy="2278062"/>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52" name="Rechteck 51"/>
          <p:cNvSpPr/>
          <p:nvPr/>
        </p:nvSpPr>
        <p:spPr>
          <a:xfrm>
            <a:off x="7526910" y="1703389"/>
            <a:ext cx="1123950" cy="273446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graphicFrame>
        <p:nvGraphicFramePr>
          <p:cNvPr id="43" name="Objekt 42" hidden="1"/>
          <p:cNvGraphicFramePr>
            <a:graphicFrameLocks noChangeAspect="1"/>
          </p:cNvGraphicFramePr>
          <p:nvPr/>
        </p:nvGraphicFramePr>
        <p:xfrm>
          <a:off x="0" y="0"/>
          <a:ext cx="158750" cy="158750"/>
        </p:xfrm>
        <a:graphic>
          <a:graphicData uri="http://schemas.openxmlformats.org/presentationml/2006/ole">
            <p:oleObj spid="_x0000_s124930" name="think-cell Folie" r:id="rId4" imgW="360" imgH="360" progId="TCLayout.ActiveDocument.1">
              <p:embed/>
            </p:oleObj>
          </a:graphicData>
        </a:graphic>
      </p:graphicFrame>
      <p:sp>
        <p:nvSpPr>
          <p:cNvPr id="39" name="Rechteck 38" hidden="1"/>
          <p:cNvSpPr/>
          <p:nvPr>
            <p:custDataLst>
              <p:tags r:id="rId2"/>
            </p:custDataLst>
          </p:nvPr>
        </p:nvSpPr>
        <p:spPr bwMode="auto">
          <a:xfrm>
            <a:off x="0" y="0"/>
            <a:ext cx="158750" cy="158750"/>
          </a:xfrm>
          <a:prstGeom prst="rect">
            <a:avLst/>
          </a:prstGeom>
          <a:solidFill>
            <a:schemeClr val="bg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de-DE" sz="900" dirty="0">
              <a:solidFill>
                <a:prstClr val="white"/>
              </a:solidFill>
              <a:sym typeface="BMW Group Condensed"/>
            </a:endParaRPr>
          </a:p>
        </p:txBody>
      </p:sp>
      <p:sp>
        <p:nvSpPr>
          <p:cNvPr id="4" name="Textplatzhalter 3"/>
          <p:cNvSpPr>
            <a:spLocks noGrp="1"/>
          </p:cNvSpPr>
          <p:nvPr>
            <p:ph type="body" sz="quarter" idx="13"/>
          </p:nvPr>
        </p:nvSpPr>
        <p:spPr/>
        <p:txBody>
          <a:bodyPr/>
          <a:lstStyle/>
          <a:p>
            <a:r>
              <a:rPr lang="en-US" dirty="0" smtClean="0"/>
              <a:t>Impact coherence Between</a:t>
            </a:r>
          </a:p>
          <a:p>
            <a:r>
              <a:rPr lang="en-US" dirty="0" smtClean="0"/>
              <a:t>Maturity step and Maturity level.</a:t>
            </a:r>
            <a:endParaRPr lang="de-DE" dirty="0" smtClean="0"/>
          </a:p>
        </p:txBody>
      </p:sp>
      <p:sp>
        <p:nvSpPr>
          <p:cNvPr id="242" name="Rechteck 241"/>
          <p:cNvSpPr/>
          <p:nvPr/>
        </p:nvSpPr>
        <p:spPr bwMode="auto">
          <a:xfrm>
            <a:off x="611560" y="1326763"/>
            <a:ext cx="78898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ctr">
              <a:spcBef>
                <a:spcPct val="0"/>
              </a:spcBef>
              <a:spcAft>
                <a:spcPct val="0"/>
              </a:spcAft>
            </a:pPr>
            <a:r>
              <a:rPr lang="en-US" sz="1400" b="1" smtClean="0">
                <a:solidFill>
                  <a:prstClr val="black"/>
                </a:solidFill>
                <a:sym typeface="+mn-lt"/>
              </a:rPr>
              <a:t>Maturity Levels</a:t>
            </a:r>
            <a:endParaRPr lang="de-DE" sz="1400" b="1" dirty="0">
              <a:solidFill>
                <a:prstClr val="black"/>
              </a:solidFill>
              <a:sym typeface="+mn-lt"/>
            </a:endParaRPr>
          </a:p>
        </p:txBody>
      </p:sp>
      <p:sp>
        <p:nvSpPr>
          <p:cNvPr id="127" name="Rechteck 126"/>
          <p:cNvSpPr/>
          <p:nvPr/>
        </p:nvSpPr>
        <p:spPr bwMode="auto">
          <a:xfrm>
            <a:off x="7732056" y="4512831"/>
            <a:ext cx="741362" cy="4254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lgn="ctr">
              <a:spcBef>
                <a:spcPct val="0"/>
              </a:spcBef>
              <a:spcAft>
                <a:spcPct val="0"/>
              </a:spcAft>
            </a:pPr>
            <a:r>
              <a:rPr lang="en-US" sz="1200" b="1" dirty="0" smtClean="0">
                <a:solidFill>
                  <a:prstClr val="black"/>
                </a:solidFill>
              </a:rPr>
              <a:t>Maturity Step</a:t>
            </a:r>
          </a:p>
          <a:p>
            <a:pPr algn="ctr">
              <a:spcBef>
                <a:spcPct val="0"/>
              </a:spcBef>
              <a:spcAft>
                <a:spcPct val="0"/>
              </a:spcAft>
            </a:pPr>
            <a:fld id="{387B5C8A-E262-456F-8AD5-E6B0E6BF957B}" type="datetime'5''00'''''''''''''''''''''''''''''''''">
              <a:rPr lang="en-US" sz="1200" b="1" smtClean="0">
                <a:solidFill>
                  <a:prstClr val="black"/>
                </a:solidFill>
              </a:rPr>
              <a:pPr algn="ctr">
                <a:spcBef>
                  <a:spcPct val="0"/>
                </a:spcBef>
                <a:spcAft>
                  <a:spcPct val="0"/>
                </a:spcAft>
              </a:pPr>
              <a:t>500</a:t>
            </a:fld>
            <a:endParaRPr lang="de-DE" sz="1200" b="1" dirty="0">
              <a:solidFill>
                <a:prstClr val="black"/>
              </a:solidFill>
              <a:sym typeface="+mn-lt"/>
            </a:endParaRPr>
          </a:p>
        </p:txBody>
      </p:sp>
      <p:sp>
        <p:nvSpPr>
          <p:cNvPr id="126" name="Rechteck 125"/>
          <p:cNvSpPr/>
          <p:nvPr/>
        </p:nvSpPr>
        <p:spPr bwMode="auto">
          <a:xfrm>
            <a:off x="6624545" y="4512831"/>
            <a:ext cx="741362" cy="4254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lgn="ctr">
              <a:spcBef>
                <a:spcPct val="0"/>
              </a:spcBef>
              <a:spcAft>
                <a:spcPct val="0"/>
              </a:spcAft>
            </a:pPr>
            <a:r>
              <a:rPr lang="en-US" sz="1200" b="1" dirty="0" smtClean="0">
                <a:solidFill>
                  <a:prstClr val="black"/>
                </a:solidFill>
              </a:rPr>
              <a:t>Maturity Step </a:t>
            </a:r>
          </a:p>
          <a:p>
            <a:pPr algn="ctr">
              <a:spcBef>
                <a:spcPct val="0"/>
              </a:spcBef>
              <a:spcAft>
                <a:spcPct val="0"/>
              </a:spcAft>
            </a:pPr>
            <a:fld id="{4880F406-210A-4756-93CF-1C755D083B51}" type="datetime'''''''''''''''''''''''''''''4''''''''''''''''''0''''''''0'''''">
              <a:rPr lang="en-US" sz="1200" b="1" smtClean="0">
                <a:solidFill>
                  <a:prstClr val="black"/>
                </a:solidFill>
              </a:rPr>
              <a:pPr algn="ctr">
                <a:spcBef>
                  <a:spcPct val="0"/>
                </a:spcBef>
                <a:spcAft>
                  <a:spcPct val="0"/>
                </a:spcAft>
              </a:pPr>
              <a:t>400</a:t>
            </a:fld>
            <a:endParaRPr lang="de-DE" sz="1200" b="1" dirty="0">
              <a:solidFill>
                <a:prstClr val="black"/>
              </a:solidFill>
              <a:sym typeface="+mn-lt"/>
            </a:endParaRPr>
          </a:p>
        </p:txBody>
      </p:sp>
      <p:sp>
        <p:nvSpPr>
          <p:cNvPr id="125" name="Rechteck 124"/>
          <p:cNvSpPr/>
          <p:nvPr/>
        </p:nvSpPr>
        <p:spPr bwMode="auto">
          <a:xfrm>
            <a:off x="5517033" y="4512831"/>
            <a:ext cx="741362" cy="4254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lgn="ctr">
              <a:spcBef>
                <a:spcPct val="0"/>
              </a:spcBef>
              <a:spcAft>
                <a:spcPct val="0"/>
              </a:spcAft>
            </a:pPr>
            <a:r>
              <a:rPr lang="en-US" sz="1200" b="1" dirty="0" smtClean="0">
                <a:solidFill>
                  <a:prstClr val="black"/>
                </a:solidFill>
              </a:rPr>
              <a:t>Maturity Step </a:t>
            </a:r>
          </a:p>
          <a:p>
            <a:pPr algn="ctr">
              <a:spcBef>
                <a:spcPct val="0"/>
              </a:spcBef>
              <a:spcAft>
                <a:spcPct val="0"/>
              </a:spcAft>
            </a:pPr>
            <a:fld id="{2B767231-68CB-469C-B57D-3F1500A0DA2B}" type="datetime'''''''''''''''''''''3''''00'''''''''''">
              <a:rPr lang="en-US" sz="1200" b="1" smtClean="0">
                <a:solidFill>
                  <a:prstClr val="black"/>
                </a:solidFill>
              </a:rPr>
              <a:pPr algn="ctr">
                <a:spcBef>
                  <a:spcPct val="0"/>
                </a:spcBef>
                <a:spcAft>
                  <a:spcPct val="0"/>
                </a:spcAft>
              </a:pPr>
              <a:t>300</a:t>
            </a:fld>
            <a:endParaRPr lang="de-DE" sz="1200" b="1" dirty="0">
              <a:solidFill>
                <a:prstClr val="black"/>
              </a:solidFill>
              <a:sym typeface="+mn-lt"/>
            </a:endParaRPr>
          </a:p>
        </p:txBody>
      </p:sp>
      <p:sp>
        <p:nvSpPr>
          <p:cNvPr id="94" name="Rechteck 93"/>
          <p:cNvSpPr/>
          <p:nvPr/>
        </p:nvSpPr>
        <p:spPr bwMode="auto">
          <a:xfrm>
            <a:off x="4409521" y="4512831"/>
            <a:ext cx="741362" cy="4254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lgn="ctr">
              <a:spcBef>
                <a:spcPct val="0"/>
              </a:spcBef>
              <a:spcAft>
                <a:spcPct val="0"/>
              </a:spcAft>
            </a:pPr>
            <a:r>
              <a:rPr lang="en-US" sz="1200" b="1" dirty="0" smtClean="0">
                <a:solidFill>
                  <a:prstClr val="black"/>
                </a:solidFill>
              </a:rPr>
              <a:t>Maturity Step </a:t>
            </a:r>
          </a:p>
          <a:p>
            <a:pPr algn="ctr">
              <a:spcBef>
                <a:spcPct val="0"/>
              </a:spcBef>
              <a:spcAft>
                <a:spcPct val="0"/>
              </a:spcAft>
            </a:pPr>
            <a:fld id="{A295666F-A3F6-41ED-AD20-FDB9BD6773E6}" type="datetime'''''''''2''''''''''''''''''''''''''''''''''0''0'''''''''''''''">
              <a:rPr lang="en-US" sz="1200" b="1" smtClean="0">
                <a:solidFill>
                  <a:prstClr val="black"/>
                </a:solidFill>
              </a:rPr>
              <a:pPr algn="ctr">
                <a:spcBef>
                  <a:spcPct val="0"/>
                </a:spcBef>
                <a:spcAft>
                  <a:spcPct val="0"/>
                </a:spcAft>
              </a:pPr>
              <a:t>200</a:t>
            </a:fld>
            <a:endParaRPr lang="de-DE" sz="1200" b="1" dirty="0">
              <a:solidFill>
                <a:prstClr val="black"/>
              </a:solidFill>
              <a:sym typeface="+mn-lt"/>
            </a:endParaRPr>
          </a:p>
        </p:txBody>
      </p:sp>
      <p:sp>
        <p:nvSpPr>
          <p:cNvPr id="124" name="Rechteck 123"/>
          <p:cNvSpPr/>
          <p:nvPr/>
        </p:nvSpPr>
        <p:spPr bwMode="auto">
          <a:xfrm>
            <a:off x="3277879" y="4512831"/>
            <a:ext cx="773112" cy="4254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lgn="ctr">
              <a:spcBef>
                <a:spcPct val="0"/>
              </a:spcBef>
              <a:spcAft>
                <a:spcPct val="0"/>
              </a:spcAft>
            </a:pPr>
            <a:r>
              <a:rPr lang="en-US" sz="1200" b="1" dirty="0" smtClean="0">
                <a:solidFill>
                  <a:prstClr val="black"/>
                </a:solidFill>
              </a:rPr>
              <a:t>Maturity Step</a:t>
            </a:r>
          </a:p>
          <a:p>
            <a:pPr algn="ctr">
              <a:spcBef>
                <a:spcPct val="0"/>
              </a:spcBef>
              <a:spcAft>
                <a:spcPct val="0"/>
              </a:spcAft>
            </a:pPr>
            <a:r>
              <a:rPr lang="en-US" sz="1200" b="1" dirty="0" smtClean="0">
                <a:solidFill>
                  <a:prstClr val="black"/>
                </a:solidFill>
              </a:rPr>
              <a:t>150</a:t>
            </a:r>
            <a:endParaRPr lang="de-DE" sz="1200" b="1" dirty="0">
              <a:solidFill>
                <a:prstClr val="black"/>
              </a:solidFill>
              <a:sym typeface="+mn-lt"/>
            </a:endParaRPr>
          </a:p>
        </p:txBody>
      </p:sp>
      <p:sp>
        <p:nvSpPr>
          <p:cNvPr id="188" name="Rechteck 187"/>
          <p:cNvSpPr/>
          <p:nvPr/>
        </p:nvSpPr>
        <p:spPr bwMode="auto">
          <a:xfrm>
            <a:off x="1287382" y="2501025"/>
            <a:ext cx="250825" cy="187325"/>
          </a:xfrm>
          <a:prstGeom prst="rect">
            <a:avLst/>
          </a:prstGeom>
          <a:solidFill>
            <a:schemeClr val="accent4"/>
          </a:solidFill>
          <a:ln w="28575">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87" name="Rechteck 186"/>
          <p:cNvSpPr/>
          <p:nvPr/>
        </p:nvSpPr>
        <p:spPr bwMode="auto">
          <a:xfrm>
            <a:off x="1287382" y="2237500"/>
            <a:ext cx="250825" cy="187325"/>
          </a:xfrm>
          <a:prstGeom prst="rect">
            <a:avLst/>
          </a:prstGeom>
          <a:solidFill>
            <a:schemeClr val="bg2">
              <a:lumMod val="75000"/>
            </a:schemeClr>
          </a:solidFill>
          <a:ln w="28575">
            <a:solidFill>
              <a:srgbClr val="405A7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86" name="Rechteck 185"/>
          <p:cNvSpPr/>
          <p:nvPr/>
        </p:nvSpPr>
        <p:spPr bwMode="auto">
          <a:xfrm>
            <a:off x="1287382" y="1973975"/>
            <a:ext cx="250825" cy="187325"/>
          </a:xfrm>
          <a:prstGeom prst="rect">
            <a:avLst/>
          </a:prstGeom>
          <a:solidFill>
            <a:schemeClr val="accent1"/>
          </a:solidFill>
          <a:ln w="285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83" name="Rechteck 182"/>
          <p:cNvSpPr/>
          <p:nvPr/>
        </p:nvSpPr>
        <p:spPr bwMode="auto">
          <a:xfrm>
            <a:off x="1589007" y="2496263"/>
            <a:ext cx="73183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r>
              <a:rPr lang="en-US" sz="1200" b="1" dirty="0" smtClean="0">
                <a:solidFill>
                  <a:prstClr val="black"/>
                </a:solidFill>
              </a:rPr>
              <a:t>Element* 3</a:t>
            </a:r>
            <a:endParaRPr lang="de-DE" sz="1200" b="1" dirty="0">
              <a:solidFill>
                <a:prstClr val="black"/>
              </a:solidFill>
              <a:sym typeface="BMW Group Condensed"/>
            </a:endParaRPr>
          </a:p>
        </p:txBody>
      </p:sp>
      <p:sp>
        <p:nvSpPr>
          <p:cNvPr id="182" name="Rechteck 181"/>
          <p:cNvSpPr/>
          <p:nvPr/>
        </p:nvSpPr>
        <p:spPr bwMode="auto">
          <a:xfrm>
            <a:off x="1589007" y="2232738"/>
            <a:ext cx="73183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r>
              <a:rPr lang="en-US" sz="1200" b="1" dirty="0" smtClean="0">
                <a:solidFill>
                  <a:prstClr val="black"/>
                </a:solidFill>
              </a:rPr>
              <a:t>Element* 2</a:t>
            </a:r>
            <a:endParaRPr lang="de-DE" sz="1200" b="1" dirty="0">
              <a:solidFill>
                <a:prstClr val="black"/>
              </a:solidFill>
              <a:sym typeface="+mn-lt"/>
            </a:endParaRPr>
          </a:p>
        </p:txBody>
      </p:sp>
      <p:sp>
        <p:nvSpPr>
          <p:cNvPr id="181" name="Rechteck 180"/>
          <p:cNvSpPr/>
          <p:nvPr/>
        </p:nvSpPr>
        <p:spPr bwMode="auto">
          <a:xfrm>
            <a:off x="1589007" y="1969213"/>
            <a:ext cx="73183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r>
              <a:rPr lang="en-US" sz="1200" b="1" dirty="0" smtClean="0">
                <a:solidFill>
                  <a:prstClr val="black"/>
                </a:solidFill>
              </a:rPr>
              <a:t>Element *1</a:t>
            </a:r>
            <a:endParaRPr lang="de-DE" sz="1200" b="1" dirty="0">
              <a:solidFill>
                <a:prstClr val="black"/>
              </a:solidFill>
              <a:sym typeface="BMW Group Condensed"/>
            </a:endParaRPr>
          </a:p>
        </p:txBody>
      </p:sp>
      <p:sp>
        <p:nvSpPr>
          <p:cNvPr id="58" name="Textfeld 57"/>
          <p:cNvSpPr txBox="1"/>
          <p:nvPr/>
        </p:nvSpPr>
        <p:spPr>
          <a:xfrm>
            <a:off x="468313" y="4961700"/>
            <a:ext cx="8207376" cy="1415772"/>
          </a:xfrm>
          <a:prstGeom prst="rect">
            <a:avLst/>
          </a:prstGeom>
          <a:solidFill>
            <a:schemeClr val="bg2">
              <a:lumMod val="20000"/>
              <a:lumOff val="80000"/>
            </a:schemeClr>
          </a:solidFill>
        </p:spPr>
        <p:txBody>
          <a:bodyPr wrap="square" rtlCol="0">
            <a:spAutoFit/>
          </a:bodyPr>
          <a:lstStyle/>
          <a:p>
            <a:pPr marL="182563" lvl="0" indent="-182563" defTabSz="1433513">
              <a:spcAft>
                <a:spcPts val="1200"/>
              </a:spcAft>
              <a:buFont typeface="Wingdings" pitchFamily="2" charset="2"/>
              <a:buChar char="Ø"/>
              <a:tabLst>
                <a:tab pos="1790700" algn="l"/>
              </a:tabLst>
            </a:pPr>
            <a:r>
              <a:rPr lang="de-DE" sz="1400" b="1" dirty="0" err="1" smtClean="0">
                <a:solidFill>
                  <a:prstClr val="black"/>
                </a:solidFill>
              </a:rPr>
              <a:t>Maturity</a:t>
            </a:r>
            <a:r>
              <a:rPr lang="de-DE" sz="1400" b="1" dirty="0" smtClean="0">
                <a:solidFill>
                  <a:prstClr val="black"/>
                </a:solidFill>
              </a:rPr>
              <a:t> </a:t>
            </a:r>
            <a:r>
              <a:rPr lang="de-DE" sz="1400" b="1" dirty="0" err="1" smtClean="0">
                <a:solidFill>
                  <a:prstClr val="black"/>
                </a:solidFill>
              </a:rPr>
              <a:t>Step</a:t>
            </a:r>
            <a:r>
              <a:rPr lang="de-DE" sz="1400" b="1" dirty="0" smtClean="0">
                <a:solidFill>
                  <a:prstClr val="black"/>
                </a:solidFill>
              </a:rPr>
              <a:t>:</a:t>
            </a:r>
            <a:r>
              <a:rPr lang="de-DE" sz="1400" dirty="0" smtClean="0">
                <a:solidFill>
                  <a:prstClr val="black"/>
                </a:solidFill>
              </a:rPr>
              <a:t>  	</a:t>
            </a:r>
            <a:r>
              <a:rPr lang="de-DE" sz="1400" dirty="0" err="1" smtClean="0">
                <a:solidFill>
                  <a:prstClr val="black"/>
                </a:solidFill>
              </a:rPr>
              <a:t>When</a:t>
            </a:r>
            <a:r>
              <a:rPr lang="de-DE" sz="1400" dirty="0" smtClean="0">
                <a:solidFill>
                  <a:prstClr val="black"/>
                </a:solidFill>
              </a:rPr>
              <a:t> will </a:t>
            </a:r>
            <a:r>
              <a:rPr lang="de-DE" sz="1400" dirty="0" err="1" smtClean="0">
                <a:solidFill>
                  <a:prstClr val="black"/>
                </a:solidFill>
              </a:rPr>
              <a:t>be</a:t>
            </a:r>
            <a:r>
              <a:rPr lang="de-DE" sz="1400" dirty="0" smtClean="0">
                <a:solidFill>
                  <a:prstClr val="black"/>
                </a:solidFill>
              </a:rPr>
              <a:t> </a:t>
            </a:r>
            <a:r>
              <a:rPr lang="de-DE" sz="1400" dirty="0" err="1" smtClean="0">
                <a:solidFill>
                  <a:prstClr val="black"/>
                </a:solidFill>
              </a:rPr>
              <a:t>measured</a:t>
            </a:r>
            <a:r>
              <a:rPr lang="de-DE" sz="1400" dirty="0" smtClean="0">
                <a:solidFill>
                  <a:prstClr val="black"/>
                </a:solidFill>
              </a:rPr>
              <a:t>?</a:t>
            </a:r>
          </a:p>
          <a:p>
            <a:pPr marL="182563" lvl="0" indent="-182563" defTabSz="1433513">
              <a:spcAft>
                <a:spcPts val="1200"/>
              </a:spcAft>
              <a:buFont typeface="Wingdings" pitchFamily="2" charset="2"/>
              <a:buChar char="Ø"/>
              <a:tabLst>
                <a:tab pos="1790700" algn="l"/>
              </a:tabLst>
            </a:pPr>
            <a:r>
              <a:rPr lang="de-DE" sz="1400" b="1" dirty="0" err="1" smtClean="0">
                <a:solidFill>
                  <a:prstClr val="black"/>
                </a:solidFill>
              </a:rPr>
              <a:t>Maturity</a:t>
            </a:r>
            <a:r>
              <a:rPr lang="de-DE" sz="1400" b="1" dirty="0" smtClean="0">
                <a:solidFill>
                  <a:prstClr val="black"/>
                </a:solidFill>
              </a:rPr>
              <a:t> Level:</a:t>
            </a:r>
            <a:r>
              <a:rPr lang="de-DE" sz="1400" dirty="0" smtClean="0">
                <a:solidFill>
                  <a:prstClr val="black"/>
                </a:solidFill>
              </a:rPr>
              <a:t>	</a:t>
            </a:r>
            <a:r>
              <a:rPr lang="en-US" sz="1400" dirty="0" smtClean="0">
                <a:solidFill>
                  <a:prstClr val="black"/>
                </a:solidFill>
                <a:sym typeface="Wingdings"/>
              </a:rPr>
              <a:t>Which </a:t>
            </a:r>
            <a:r>
              <a:rPr lang="en-US" sz="1400" dirty="0" err="1" smtClean="0">
                <a:solidFill>
                  <a:prstClr val="black"/>
                </a:solidFill>
                <a:sym typeface="Wingdings"/>
              </a:rPr>
              <a:t>contentual</a:t>
            </a:r>
            <a:r>
              <a:rPr lang="en-US" sz="1400" dirty="0" smtClean="0">
                <a:solidFill>
                  <a:prstClr val="black"/>
                </a:solidFill>
                <a:sym typeface="Wingdings"/>
              </a:rPr>
              <a:t> demand has to be fulfilled?</a:t>
            </a:r>
            <a:endParaRPr lang="de-DE" sz="1400" dirty="0" smtClean="0">
              <a:solidFill>
                <a:prstClr val="black"/>
              </a:solidFill>
            </a:endParaRPr>
          </a:p>
          <a:p>
            <a:pPr marL="182563" lvl="0" indent="-182563" defTabSz="1433513">
              <a:spcAft>
                <a:spcPts val="1200"/>
              </a:spcAft>
              <a:buFont typeface="Wingdings" pitchFamily="2" charset="2"/>
              <a:buChar char="Ø"/>
              <a:tabLst>
                <a:tab pos="1790700" algn="l"/>
              </a:tabLst>
            </a:pPr>
            <a:r>
              <a:rPr lang="de-DE" sz="1400" b="1" dirty="0" err="1" smtClean="0">
                <a:solidFill>
                  <a:prstClr val="black"/>
                </a:solidFill>
              </a:rPr>
              <a:t>Maturity</a:t>
            </a:r>
            <a:r>
              <a:rPr lang="de-DE" sz="1400" b="1" dirty="0" smtClean="0">
                <a:solidFill>
                  <a:prstClr val="black"/>
                </a:solidFill>
              </a:rPr>
              <a:t> Element: 	</a:t>
            </a:r>
            <a:r>
              <a:rPr lang="de-DE" sz="1400" dirty="0" err="1" smtClean="0">
                <a:solidFill>
                  <a:prstClr val="black"/>
                </a:solidFill>
              </a:rPr>
              <a:t>What</a:t>
            </a:r>
            <a:r>
              <a:rPr lang="de-DE" sz="1400" dirty="0" smtClean="0">
                <a:solidFill>
                  <a:prstClr val="black"/>
                </a:solidFill>
              </a:rPr>
              <a:t> will </a:t>
            </a:r>
            <a:r>
              <a:rPr lang="de-DE" sz="1400" dirty="0" err="1" smtClean="0">
                <a:solidFill>
                  <a:prstClr val="black"/>
                </a:solidFill>
              </a:rPr>
              <a:t>be</a:t>
            </a:r>
            <a:r>
              <a:rPr lang="de-DE" sz="1400" dirty="0" smtClean="0">
                <a:solidFill>
                  <a:prstClr val="black"/>
                </a:solidFill>
              </a:rPr>
              <a:t> </a:t>
            </a:r>
            <a:r>
              <a:rPr lang="de-DE" sz="1400" dirty="0" err="1" smtClean="0">
                <a:solidFill>
                  <a:prstClr val="black"/>
                </a:solidFill>
              </a:rPr>
              <a:t>measured</a:t>
            </a:r>
            <a:r>
              <a:rPr lang="de-DE" sz="1400" dirty="0" smtClean="0">
                <a:solidFill>
                  <a:prstClr val="black"/>
                </a:solidFill>
              </a:rPr>
              <a:t>?</a:t>
            </a:r>
          </a:p>
          <a:p>
            <a:pPr marL="182563" lvl="0" indent="-182563" defTabSz="1433513">
              <a:spcAft>
                <a:spcPts val="1200"/>
              </a:spcAft>
              <a:buFont typeface="Wingdings" pitchFamily="2" charset="2"/>
              <a:buChar char="Ø"/>
              <a:tabLst>
                <a:tab pos="1790700" algn="l"/>
              </a:tabLst>
            </a:pPr>
            <a:r>
              <a:rPr lang="de-DE" sz="1400" b="1" dirty="0" err="1" smtClean="0">
                <a:solidFill>
                  <a:prstClr val="black"/>
                </a:solidFill>
              </a:rPr>
              <a:t>Maturity</a:t>
            </a:r>
            <a:r>
              <a:rPr lang="de-DE" sz="1400" b="1" dirty="0" smtClean="0">
                <a:solidFill>
                  <a:prstClr val="black"/>
                </a:solidFill>
              </a:rPr>
              <a:t> Progress:</a:t>
            </a:r>
            <a:r>
              <a:rPr lang="de-DE" sz="1400" dirty="0" smtClean="0">
                <a:solidFill>
                  <a:prstClr val="black"/>
                </a:solidFill>
              </a:rPr>
              <a:t>	</a:t>
            </a:r>
            <a:r>
              <a:rPr lang="en-US" sz="1400" dirty="0" smtClean="0">
                <a:solidFill>
                  <a:prstClr val="black"/>
                </a:solidFill>
                <a:sym typeface="Wingdings"/>
              </a:rPr>
              <a:t>How strong is the maturity‘s improvement?</a:t>
            </a:r>
            <a:endParaRPr lang="en-US" sz="1400" dirty="0" smtClean="0">
              <a:solidFill>
                <a:prstClr val="black"/>
              </a:solidFill>
            </a:endParaRPr>
          </a:p>
        </p:txBody>
      </p:sp>
      <p:sp>
        <p:nvSpPr>
          <p:cNvPr id="56" name="Rechteck 55"/>
          <p:cNvSpPr/>
          <p:nvPr/>
        </p:nvSpPr>
        <p:spPr>
          <a:xfrm>
            <a:off x="200355" y="6330586"/>
            <a:ext cx="5477355" cy="253916"/>
          </a:xfrm>
          <a:prstGeom prst="rect">
            <a:avLst/>
          </a:prstGeom>
        </p:spPr>
        <p:txBody>
          <a:bodyPr wrap="square">
            <a:spAutoFit/>
          </a:bodyPr>
          <a:lstStyle/>
          <a:p>
            <a:pPr marL="180975">
              <a:tabLst>
                <a:tab pos="180975" algn="l"/>
                <a:tab pos="8339138" algn="l"/>
              </a:tabLst>
            </a:pPr>
            <a:r>
              <a:rPr lang="de-DE" sz="1050" smtClean="0">
                <a:solidFill>
                  <a:prstClr val="black"/>
                </a:solidFill>
              </a:rPr>
              <a:t>* Elements are total vehicle features, functions and components. </a:t>
            </a:r>
            <a:endParaRPr lang="de-DE" sz="1050" dirty="0" smtClean="0">
              <a:solidFill>
                <a:prstClr val="black"/>
              </a:solidFill>
              <a:latin typeface="TT2Fo00"/>
            </a:endParaRPr>
          </a:p>
        </p:txBody>
      </p:sp>
      <p:sp>
        <p:nvSpPr>
          <p:cNvPr id="69" name="Rechteck 68"/>
          <p:cNvSpPr/>
          <p:nvPr/>
        </p:nvSpPr>
        <p:spPr bwMode="auto">
          <a:xfrm>
            <a:off x="1056577" y="4508477"/>
            <a:ext cx="773112" cy="4254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lgn="ctr">
              <a:spcBef>
                <a:spcPct val="0"/>
              </a:spcBef>
              <a:spcAft>
                <a:spcPct val="0"/>
              </a:spcAft>
            </a:pPr>
            <a:r>
              <a:rPr lang="en-US" sz="1200" b="1" dirty="0" smtClean="0">
                <a:solidFill>
                  <a:prstClr val="black"/>
                </a:solidFill>
              </a:rPr>
              <a:t>Maturity Step</a:t>
            </a:r>
          </a:p>
          <a:p>
            <a:pPr algn="ctr">
              <a:spcBef>
                <a:spcPct val="0"/>
              </a:spcBef>
              <a:spcAft>
                <a:spcPct val="0"/>
              </a:spcAft>
            </a:pPr>
            <a:r>
              <a:rPr lang="en-US" sz="1200" b="1" dirty="0" smtClean="0">
                <a:solidFill>
                  <a:prstClr val="black"/>
                </a:solidFill>
              </a:rPr>
              <a:t>0</a:t>
            </a:r>
            <a:endParaRPr lang="de-DE" sz="1200" b="1" dirty="0">
              <a:solidFill>
                <a:prstClr val="black"/>
              </a:solidFill>
              <a:sym typeface="+mn-lt"/>
            </a:endParaRPr>
          </a:p>
        </p:txBody>
      </p:sp>
      <p:cxnSp>
        <p:nvCxnSpPr>
          <p:cNvPr id="60" name="Gerade Verbindung 59"/>
          <p:cNvCxnSpPr/>
          <p:nvPr/>
        </p:nvCxnSpPr>
        <p:spPr bwMode="auto">
          <a:xfrm flipV="1">
            <a:off x="900685" y="4428352"/>
            <a:ext cx="7737302" cy="8711"/>
          </a:xfrm>
          <a:prstGeom prst="line">
            <a:avLst/>
          </a:prstGeom>
          <a:ln w="285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77" name="Textfeld 76"/>
          <p:cNvSpPr txBox="1"/>
          <p:nvPr/>
        </p:nvSpPr>
        <p:spPr>
          <a:xfrm>
            <a:off x="7458655" y="1082265"/>
            <a:ext cx="880370" cy="307777"/>
          </a:xfrm>
          <a:prstGeom prst="rect">
            <a:avLst/>
          </a:prstGeom>
          <a:noFill/>
        </p:spPr>
        <p:txBody>
          <a:bodyPr wrap="none" rtlCol="0" anchor="ctr">
            <a:spAutoFit/>
          </a:bodyPr>
          <a:lstStyle/>
          <a:p>
            <a:pPr algn="ctr"/>
            <a:r>
              <a:rPr lang="en-US" sz="1400" dirty="0" smtClean="0">
                <a:solidFill>
                  <a:prstClr val="black"/>
                </a:solidFill>
              </a:rPr>
              <a:t>schematic</a:t>
            </a:r>
            <a:endParaRPr lang="en-US" sz="1400" dirty="0">
              <a:solidFill>
                <a:prstClr val="black"/>
              </a:solidFill>
            </a:endParaRPr>
          </a:p>
        </p:txBody>
      </p:sp>
      <p:cxnSp>
        <p:nvCxnSpPr>
          <p:cNvPr id="80" name="Gerade Verbindung 79"/>
          <p:cNvCxnSpPr/>
          <p:nvPr/>
        </p:nvCxnSpPr>
        <p:spPr>
          <a:xfrm>
            <a:off x="7282606" y="1129011"/>
            <a:ext cx="13168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p:nvCxnSpPr>
        <p:spPr>
          <a:xfrm>
            <a:off x="7282606" y="1343296"/>
            <a:ext cx="13168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winkelte Verbindung 35"/>
          <p:cNvCxnSpPr/>
          <p:nvPr/>
        </p:nvCxnSpPr>
        <p:spPr>
          <a:xfrm flipV="1">
            <a:off x="1964310" y="3494088"/>
            <a:ext cx="2247900" cy="476250"/>
          </a:xfrm>
          <a:prstGeom prst="bentConnector3">
            <a:avLst>
              <a:gd name="adj1" fmla="val 50000"/>
            </a:avLst>
          </a:prstGeom>
          <a:ln w="2857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Gewinkelte Verbindung 41"/>
          <p:cNvCxnSpPr/>
          <p:nvPr/>
        </p:nvCxnSpPr>
        <p:spPr>
          <a:xfrm flipV="1">
            <a:off x="4212210" y="2608263"/>
            <a:ext cx="2228850" cy="447675"/>
          </a:xfrm>
          <a:prstGeom prst="bentConnector3">
            <a:avLst>
              <a:gd name="adj1" fmla="val 50000"/>
            </a:avLst>
          </a:prstGeom>
          <a:ln w="2857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Gewinkelte Verbindung 62"/>
          <p:cNvCxnSpPr/>
          <p:nvPr/>
        </p:nvCxnSpPr>
        <p:spPr>
          <a:xfrm flipV="1">
            <a:off x="6441060" y="1703388"/>
            <a:ext cx="2209800" cy="447675"/>
          </a:xfrm>
          <a:prstGeom prst="bentConnector3">
            <a:avLst>
              <a:gd name="adj1" fmla="val 50000"/>
            </a:avLst>
          </a:prstGeom>
          <a:ln w="2857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Rechteck 69"/>
          <p:cNvSpPr/>
          <p:nvPr/>
        </p:nvSpPr>
        <p:spPr bwMode="auto">
          <a:xfrm>
            <a:off x="6069514" y="2703513"/>
            <a:ext cx="73183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spcBef>
                <a:spcPct val="0"/>
              </a:spcBef>
              <a:spcAft>
                <a:spcPct val="0"/>
              </a:spcAft>
            </a:pPr>
            <a:r>
              <a:rPr lang="en-US" sz="1400" b="1" dirty="0" smtClean="0">
                <a:solidFill>
                  <a:prstClr val="black"/>
                </a:solidFill>
              </a:rPr>
              <a:t>RG 4</a:t>
            </a:r>
            <a:endParaRPr lang="de-DE" sz="1400" b="1" dirty="0">
              <a:solidFill>
                <a:prstClr val="black"/>
              </a:solidFill>
              <a:sym typeface="BMW Group Condensed"/>
            </a:endParaRPr>
          </a:p>
        </p:txBody>
      </p:sp>
      <p:sp>
        <p:nvSpPr>
          <p:cNvPr id="71" name="Rechteck 70"/>
          <p:cNvSpPr/>
          <p:nvPr/>
        </p:nvSpPr>
        <p:spPr bwMode="auto">
          <a:xfrm>
            <a:off x="8283678" y="1824597"/>
            <a:ext cx="73183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spcBef>
                <a:spcPct val="0"/>
              </a:spcBef>
              <a:spcAft>
                <a:spcPct val="0"/>
              </a:spcAft>
            </a:pPr>
            <a:r>
              <a:rPr lang="en-US" sz="1400" b="1" dirty="0" smtClean="0">
                <a:solidFill>
                  <a:prstClr val="black"/>
                </a:solidFill>
              </a:rPr>
              <a:t>RG 6</a:t>
            </a:r>
            <a:endParaRPr lang="de-DE" sz="1400" b="1" dirty="0">
              <a:solidFill>
                <a:prstClr val="black"/>
              </a:solidFill>
              <a:sym typeface="BMW Group Condensed"/>
            </a:endParaRPr>
          </a:p>
        </p:txBody>
      </p:sp>
      <p:cxnSp>
        <p:nvCxnSpPr>
          <p:cNvPr id="72" name="Gewinkelte Verbindung 71"/>
          <p:cNvCxnSpPr>
            <a:endCxn id="48" idx="1"/>
          </p:cNvCxnSpPr>
          <p:nvPr/>
        </p:nvCxnSpPr>
        <p:spPr>
          <a:xfrm flipV="1">
            <a:off x="1964310" y="3961606"/>
            <a:ext cx="1123950" cy="475457"/>
          </a:xfrm>
          <a:prstGeom prst="bentConnector3">
            <a:avLst>
              <a:gd name="adj1" fmla="val 99153"/>
            </a:avLst>
          </a:prstGeom>
          <a:ln w="28575">
            <a:solidFill>
              <a:schemeClr val="bg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Gewinkelte Verbindung 72"/>
          <p:cNvCxnSpPr/>
          <p:nvPr/>
        </p:nvCxnSpPr>
        <p:spPr>
          <a:xfrm flipV="1">
            <a:off x="3088260" y="2636044"/>
            <a:ext cx="3272631" cy="1331915"/>
          </a:xfrm>
          <a:prstGeom prst="bentConnector3">
            <a:avLst>
              <a:gd name="adj1" fmla="val 69209"/>
            </a:avLst>
          </a:prstGeom>
          <a:ln w="28575">
            <a:solidFill>
              <a:schemeClr val="bg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Gewinkelte Verbindung 73"/>
          <p:cNvCxnSpPr/>
          <p:nvPr/>
        </p:nvCxnSpPr>
        <p:spPr>
          <a:xfrm flipV="1">
            <a:off x="6537897" y="1676400"/>
            <a:ext cx="2022475" cy="931863"/>
          </a:xfrm>
          <a:prstGeom prst="bentConnector3">
            <a:avLst>
              <a:gd name="adj1" fmla="val 50000"/>
            </a:avLst>
          </a:prstGeom>
          <a:ln w="28575">
            <a:solidFill>
              <a:schemeClr val="bg2">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Gewinkelte Verbindung 97"/>
          <p:cNvCxnSpPr/>
          <p:nvPr/>
        </p:nvCxnSpPr>
        <p:spPr>
          <a:xfrm flipV="1">
            <a:off x="900685" y="2581055"/>
            <a:ext cx="5447681" cy="1359914"/>
          </a:xfrm>
          <a:prstGeom prst="bentConnector3">
            <a:avLst>
              <a:gd name="adj1" fmla="val 39649"/>
            </a:avLst>
          </a:prstGeom>
          <a:ln w="2857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Gewinkelte Verbindung 98"/>
          <p:cNvCxnSpPr/>
          <p:nvPr/>
        </p:nvCxnSpPr>
        <p:spPr>
          <a:xfrm flipV="1">
            <a:off x="6441060" y="1730372"/>
            <a:ext cx="2116140" cy="748509"/>
          </a:xfrm>
          <a:prstGeom prst="bentConnector3">
            <a:avLst>
              <a:gd name="adj1" fmla="val -1313"/>
            </a:avLst>
          </a:prstGeom>
          <a:ln w="2857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7" name="AutoShape 15"/>
          <p:cNvSpPr>
            <a:spLocks noChangeArrowheads="1"/>
          </p:cNvSpPr>
          <p:nvPr/>
        </p:nvSpPr>
        <p:spPr bwMode="auto">
          <a:xfrm>
            <a:off x="8559132" y="1609307"/>
            <a:ext cx="180000" cy="180000"/>
          </a:xfrm>
          <a:prstGeom prst="flowChartDecision">
            <a:avLst/>
          </a:prstGeom>
          <a:solidFill>
            <a:schemeClr val="tx1"/>
          </a:solidFill>
          <a:ln w="19050" algn="ctr">
            <a:solidFill>
              <a:schemeClr val="bg1"/>
            </a:solidFill>
            <a:prstDash val="solid"/>
            <a:miter lim="800000"/>
            <a:headEnd/>
            <a:tailEnd/>
          </a:ln>
        </p:spPr>
        <p:txBody>
          <a:bodyPr wrap="none" anchor="ctr"/>
          <a:lstStyle/>
          <a:p>
            <a:pPr fontAlgn="base">
              <a:lnSpc>
                <a:spcPct val="95000"/>
              </a:lnSpc>
              <a:spcBef>
                <a:spcPct val="0"/>
              </a:spcBef>
              <a:spcAft>
                <a:spcPct val="0"/>
              </a:spcAft>
            </a:pPr>
            <a:endParaRPr lang="de-DE" dirty="0">
              <a:solidFill>
                <a:srgbClr val="000000"/>
              </a:solidFill>
            </a:endParaRPr>
          </a:p>
        </p:txBody>
      </p:sp>
      <p:cxnSp>
        <p:nvCxnSpPr>
          <p:cNvPr id="61" name="Gerade Verbindung 60"/>
          <p:cNvCxnSpPr/>
          <p:nvPr/>
        </p:nvCxnSpPr>
        <p:spPr bwMode="auto">
          <a:xfrm flipV="1">
            <a:off x="900685" y="1689100"/>
            <a:ext cx="0" cy="2733675"/>
          </a:xfrm>
          <a:prstGeom prst="line">
            <a:avLst/>
          </a:prstGeom>
          <a:ln w="285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p:nvCxnSpPr>
        <p:spPr>
          <a:xfrm flipV="1">
            <a:off x="4212210" y="3055938"/>
            <a:ext cx="0" cy="438150"/>
          </a:xfrm>
          <a:prstGeom prst="line">
            <a:avLst/>
          </a:prstGeom>
          <a:ln w="2857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p:nvPr/>
        </p:nvCxnSpPr>
        <p:spPr>
          <a:xfrm flipV="1">
            <a:off x="6441060" y="2151063"/>
            <a:ext cx="0" cy="457200"/>
          </a:xfrm>
          <a:prstGeom prst="line">
            <a:avLst/>
          </a:prstGeom>
          <a:ln w="2857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6" name="AutoShape 15"/>
          <p:cNvSpPr>
            <a:spLocks noChangeArrowheads="1"/>
          </p:cNvSpPr>
          <p:nvPr/>
        </p:nvSpPr>
        <p:spPr bwMode="auto">
          <a:xfrm>
            <a:off x="6348366" y="2507721"/>
            <a:ext cx="180000" cy="180000"/>
          </a:xfrm>
          <a:prstGeom prst="flowChartDecision">
            <a:avLst/>
          </a:prstGeom>
          <a:solidFill>
            <a:schemeClr val="tx1"/>
          </a:solidFill>
          <a:ln w="19050" algn="ctr">
            <a:solidFill>
              <a:schemeClr val="bg1"/>
            </a:solidFill>
            <a:prstDash val="solid"/>
            <a:miter lim="800000"/>
            <a:headEnd/>
            <a:tailEnd/>
          </a:ln>
        </p:spPr>
        <p:txBody>
          <a:bodyPr wrap="none" anchor="ctr"/>
          <a:lstStyle/>
          <a:p>
            <a:pPr fontAlgn="base">
              <a:lnSpc>
                <a:spcPct val="95000"/>
              </a:lnSpc>
              <a:spcBef>
                <a:spcPct val="0"/>
              </a:spcBef>
              <a:spcAft>
                <a:spcPct val="0"/>
              </a:spcAft>
            </a:pPr>
            <a:endParaRPr lang="de-DE" dirty="0">
              <a:solidFill>
                <a:srgbClr val="000000"/>
              </a:solidFill>
            </a:endParaRPr>
          </a:p>
        </p:txBody>
      </p:sp>
      <p:sp>
        <p:nvSpPr>
          <p:cNvPr id="131" name="Rechteck 130"/>
          <p:cNvSpPr/>
          <p:nvPr/>
        </p:nvSpPr>
        <p:spPr bwMode="auto">
          <a:xfrm>
            <a:off x="242512" y="4327013"/>
            <a:ext cx="73183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spcBef>
                <a:spcPct val="0"/>
              </a:spcBef>
              <a:spcAft>
                <a:spcPct val="0"/>
              </a:spcAft>
            </a:pPr>
            <a:r>
              <a:rPr lang="en-US" sz="1200" b="1" dirty="0" smtClean="0">
                <a:solidFill>
                  <a:prstClr val="black"/>
                </a:solidFill>
              </a:rPr>
              <a:t>RG 0</a:t>
            </a:r>
            <a:endParaRPr lang="de-DE" sz="1200" b="1" dirty="0">
              <a:solidFill>
                <a:prstClr val="black"/>
              </a:solidFill>
              <a:sym typeface="BMW Group Condensed"/>
            </a:endParaRPr>
          </a:p>
        </p:txBody>
      </p:sp>
      <p:sp>
        <p:nvSpPr>
          <p:cNvPr id="132" name="Rechteck 131"/>
          <p:cNvSpPr/>
          <p:nvPr/>
        </p:nvSpPr>
        <p:spPr bwMode="auto">
          <a:xfrm>
            <a:off x="242512" y="3839022"/>
            <a:ext cx="73183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spcBef>
                <a:spcPct val="0"/>
              </a:spcBef>
              <a:spcAft>
                <a:spcPct val="0"/>
              </a:spcAft>
            </a:pPr>
            <a:r>
              <a:rPr lang="en-US" sz="1200" b="1" dirty="0" smtClean="0">
                <a:solidFill>
                  <a:prstClr val="black"/>
                </a:solidFill>
              </a:rPr>
              <a:t>RG 1</a:t>
            </a:r>
            <a:endParaRPr lang="de-DE" sz="1200" b="1" dirty="0">
              <a:solidFill>
                <a:prstClr val="black"/>
              </a:solidFill>
              <a:sym typeface="BMW Group Condensed"/>
            </a:endParaRPr>
          </a:p>
        </p:txBody>
      </p:sp>
      <p:sp>
        <p:nvSpPr>
          <p:cNvPr id="133" name="Rechteck 132"/>
          <p:cNvSpPr/>
          <p:nvPr/>
        </p:nvSpPr>
        <p:spPr bwMode="auto">
          <a:xfrm>
            <a:off x="242512" y="3373405"/>
            <a:ext cx="73183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spcBef>
                <a:spcPct val="0"/>
              </a:spcBef>
              <a:spcAft>
                <a:spcPct val="0"/>
              </a:spcAft>
            </a:pPr>
            <a:r>
              <a:rPr lang="en-US" sz="1200" b="1" dirty="0" smtClean="0">
                <a:solidFill>
                  <a:prstClr val="black"/>
                </a:solidFill>
              </a:rPr>
              <a:t>RG 2</a:t>
            </a:r>
            <a:endParaRPr lang="de-DE" sz="1200" b="1" dirty="0">
              <a:solidFill>
                <a:prstClr val="black"/>
              </a:solidFill>
              <a:sym typeface="BMW Group Condensed"/>
            </a:endParaRPr>
          </a:p>
        </p:txBody>
      </p:sp>
      <p:sp>
        <p:nvSpPr>
          <p:cNvPr id="134" name="Rechteck 133"/>
          <p:cNvSpPr/>
          <p:nvPr/>
        </p:nvSpPr>
        <p:spPr bwMode="auto">
          <a:xfrm>
            <a:off x="242512" y="2935255"/>
            <a:ext cx="73183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spcBef>
                <a:spcPct val="0"/>
              </a:spcBef>
              <a:spcAft>
                <a:spcPct val="0"/>
              </a:spcAft>
            </a:pPr>
            <a:r>
              <a:rPr lang="en-US" sz="1200" b="1" dirty="0" smtClean="0">
                <a:solidFill>
                  <a:prstClr val="black"/>
                </a:solidFill>
              </a:rPr>
              <a:t>RG 3</a:t>
            </a:r>
            <a:endParaRPr lang="de-DE" sz="1200" b="1" dirty="0">
              <a:solidFill>
                <a:prstClr val="black"/>
              </a:solidFill>
              <a:sym typeface="BMW Group Condensed"/>
            </a:endParaRPr>
          </a:p>
        </p:txBody>
      </p:sp>
      <p:sp>
        <p:nvSpPr>
          <p:cNvPr id="135" name="Rechteck 134"/>
          <p:cNvSpPr/>
          <p:nvPr/>
        </p:nvSpPr>
        <p:spPr bwMode="auto">
          <a:xfrm>
            <a:off x="242512" y="2476947"/>
            <a:ext cx="73183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spcBef>
                <a:spcPct val="0"/>
              </a:spcBef>
              <a:spcAft>
                <a:spcPct val="0"/>
              </a:spcAft>
            </a:pPr>
            <a:r>
              <a:rPr lang="en-US" sz="1200" b="1" dirty="0" smtClean="0">
                <a:solidFill>
                  <a:prstClr val="black"/>
                </a:solidFill>
              </a:rPr>
              <a:t>RG 4</a:t>
            </a:r>
            <a:endParaRPr lang="de-DE" sz="1200" b="1" dirty="0">
              <a:solidFill>
                <a:prstClr val="black"/>
              </a:solidFill>
              <a:sym typeface="BMW Group Condensed"/>
            </a:endParaRPr>
          </a:p>
        </p:txBody>
      </p:sp>
      <p:sp>
        <p:nvSpPr>
          <p:cNvPr id="136" name="Rechteck 135"/>
          <p:cNvSpPr/>
          <p:nvPr/>
        </p:nvSpPr>
        <p:spPr bwMode="auto">
          <a:xfrm>
            <a:off x="242512" y="2030380"/>
            <a:ext cx="73183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spcBef>
                <a:spcPct val="0"/>
              </a:spcBef>
              <a:spcAft>
                <a:spcPct val="0"/>
              </a:spcAft>
            </a:pPr>
            <a:r>
              <a:rPr lang="en-US" sz="1200" b="1" dirty="0" smtClean="0">
                <a:solidFill>
                  <a:prstClr val="black"/>
                </a:solidFill>
              </a:rPr>
              <a:t>RG 5</a:t>
            </a:r>
            <a:endParaRPr lang="de-DE" sz="1200" b="1" dirty="0">
              <a:solidFill>
                <a:prstClr val="black"/>
              </a:solidFill>
              <a:sym typeface="BMW Group Condensed"/>
            </a:endParaRPr>
          </a:p>
        </p:txBody>
      </p:sp>
      <p:sp>
        <p:nvSpPr>
          <p:cNvPr id="137" name="Rechteck 136"/>
          <p:cNvSpPr/>
          <p:nvPr/>
        </p:nvSpPr>
        <p:spPr bwMode="auto">
          <a:xfrm>
            <a:off x="242512" y="1582737"/>
            <a:ext cx="73183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spcBef>
                <a:spcPct val="0"/>
              </a:spcBef>
              <a:spcAft>
                <a:spcPct val="0"/>
              </a:spcAft>
            </a:pPr>
            <a:r>
              <a:rPr lang="en-US" sz="1200" b="1" dirty="0" smtClean="0">
                <a:solidFill>
                  <a:prstClr val="black"/>
                </a:solidFill>
              </a:rPr>
              <a:t>RG 6</a:t>
            </a:r>
            <a:endParaRPr lang="de-DE" sz="1200" b="1" dirty="0">
              <a:solidFill>
                <a:prstClr val="black"/>
              </a:solidFill>
              <a:sym typeface="BMW Group Condensed"/>
            </a:endParaRPr>
          </a:p>
        </p:txBody>
      </p:sp>
      <p:cxnSp>
        <p:nvCxnSpPr>
          <p:cNvPr id="147" name="Gerade Verbindung 146"/>
          <p:cNvCxnSpPr/>
          <p:nvPr/>
        </p:nvCxnSpPr>
        <p:spPr>
          <a:xfrm flipV="1">
            <a:off x="1964310" y="3970338"/>
            <a:ext cx="0" cy="438150"/>
          </a:xfrm>
          <a:prstGeom prst="line">
            <a:avLst/>
          </a:prstGeom>
          <a:ln w="2857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8" name="Gerade Verbindung 147"/>
          <p:cNvCxnSpPr/>
          <p:nvPr/>
        </p:nvCxnSpPr>
        <p:spPr>
          <a:xfrm>
            <a:off x="900685" y="4437063"/>
            <a:ext cx="1063625" cy="0"/>
          </a:xfrm>
          <a:prstGeom prst="line">
            <a:avLst/>
          </a:prstGeom>
          <a:ln w="28575">
            <a:solidFill>
              <a:schemeClr val="accent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hteck 150"/>
          <p:cNvSpPr/>
          <p:nvPr/>
        </p:nvSpPr>
        <p:spPr bwMode="auto">
          <a:xfrm>
            <a:off x="2150119" y="4512831"/>
            <a:ext cx="773112" cy="4254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lgn="ctr">
              <a:spcBef>
                <a:spcPct val="0"/>
              </a:spcBef>
              <a:spcAft>
                <a:spcPct val="0"/>
              </a:spcAft>
            </a:pPr>
            <a:r>
              <a:rPr lang="en-US" sz="1200" b="1" dirty="0" smtClean="0">
                <a:solidFill>
                  <a:prstClr val="black"/>
                </a:solidFill>
              </a:rPr>
              <a:t>Maturity Step</a:t>
            </a:r>
          </a:p>
          <a:p>
            <a:pPr algn="ctr">
              <a:spcBef>
                <a:spcPct val="0"/>
              </a:spcBef>
              <a:spcAft>
                <a:spcPct val="0"/>
              </a:spcAft>
            </a:pPr>
            <a:fld id="{29AF4447-11F3-4E20-96A0-D3F4A98D3567}" type="datetime'''''''''''''''''''''''''''''''''1''''''''0''''0'''">
              <a:rPr lang="en-US" sz="1200" b="1" smtClean="0">
                <a:solidFill>
                  <a:prstClr val="black"/>
                </a:solidFill>
              </a:rPr>
              <a:pPr algn="ctr">
                <a:spcBef>
                  <a:spcPct val="0"/>
                </a:spcBef>
                <a:spcAft>
                  <a:spcPct val="0"/>
                </a:spcAft>
              </a:pPr>
              <a:t>100</a:t>
            </a:fld>
            <a:endParaRPr lang="de-DE" sz="1200" b="1" dirty="0">
              <a:solidFill>
                <a:prstClr val="black"/>
              </a:solidFill>
              <a:sym typeface="+mn-lt"/>
            </a:endParaRPr>
          </a:p>
        </p:txBody>
      </p:sp>
      <p:sp>
        <p:nvSpPr>
          <p:cNvPr id="152" name="Rechteck 151"/>
          <p:cNvSpPr/>
          <p:nvPr/>
        </p:nvSpPr>
        <p:spPr bwMode="auto">
          <a:xfrm>
            <a:off x="1287382" y="1718783"/>
            <a:ext cx="250825" cy="187325"/>
          </a:xfrm>
          <a:prstGeom prst="rect">
            <a:avLst/>
          </a:prstGeom>
          <a:solidFill>
            <a:schemeClr val="bg2">
              <a:lumMod val="20000"/>
              <a:lumOff val="80000"/>
            </a:schemeClr>
          </a:solidFill>
          <a:ln w="28575">
            <a:solidFill>
              <a:schemeClr val="bg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53" name="Rechteck 152"/>
          <p:cNvSpPr/>
          <p:nvPr/>
        </p:nvSpPr>
        <p:spPr bwMode="auto">
          <a:xfrm>
            <a:off x="1589007" y="1714021"/>
            <a:ext cx="73183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spcBef>
                <a:spcPct val="0"/>
              </a:spcBef>
              <a:spcAft>
                <a:spcPct val="0"/>
              </a:spcAft>
            </a:pPr>
            <a:r>
              <a:rPr lang="de-DE" sz="1200" b="1" smtClean="0">
                <a:solidFill>
                  <a:prstClr val="black"/>
                </a:solidFill>
              </a:rPr>
              <a:t>Generic Maturity Level Planning</a:t>
            </a:r>
            <a:endParaRPr lang="de-DE" sz="1200" b="1">
              <a:solidFill>
                <a:prstClr val="black"/>
              </a:solidFill>
              <a:sym typeface="BMW Group Condensed"/>
            </a:endParaRPr>
          </a:p>
        </p:txBody>
      </p:sp>
      <p:sp>
        <p:nvSpPr>
          <p:cNvPr id="62" name="Fußzeilenplatzhalter 61"/>
          <p:cNvSpPr>
            <a:spLocks noGrp="1"/>
          </p:cNvSpPr>
          <p:nvPr>
            <p:ph type="ftr" sz="quarter" idx="10"/>
          </p:nvPr>
        </p:nvSpPr>
        <p:spPr/>
        <p:txBody>
          <a:bodyPr/>
          <a:lstStyle/>
          <a:p>
            <a:pPr algn="l"/>
            <a:r>
              <a:rPr lang="de-DE" smtClean="0"/>
              <a:t>Maturity Level Management Total Vehicle, Communication, Version 4.2</a:t>
            </a:r>
            <a:endParaRPr lang="de-DE" dirty="0"/>
          </a:p>
        </p:txBody>
      </p:sp>
      <p:sp>
        <p:nvSpPr>
          <p:cNvPr id="59" name="Foliennummernplatzhalter 27"/>
          <p:cNvSpPr txBox="1">
            <a:spLocks/>
          </p:cNvSpPr>
          <p:nvPr/>
        </p:nvSpPr>
        <p:spPr>
          <a:xfrm>
            <a:off x="6553200" y="6528871"/>
            <a:ext cx="2124075" cy="329130"/>
          </a:xfrm>
          <a:prstGeom prst="rect">
            <a:avLst/>
          </a:prstGeom>
        </p:spPr>
        <p:txBody>
          <a:bodyPr vert="horz"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sz="900" smtClean="0"/>
              <a:t>Slide</a:t>
            </a:r>
            <a:r>
              <a:rPr kumimoji="0" lang="de-DE" sz="900" b="0" i="0" u="none" strike="noStrike" kern="1200" cap="none" spc="0" normalizeH="0" baseline="0" noProof="0" smtClean="0">
                <a:ln>
                  <a:noFill/>
                </a:ln>
                <a:solidFill>
                  <a:schemeClr val="tx1"/>
                </a:solidFill>
                <a:effectLst/>
                <a:uLnTx/>
                <a:uFillTx/>
                <a:latin typeface="+mn-lt"/>
                <a:ea typeface="+mn-ea"/>
                <a:cs typeface="+mn-cs"/>
              </a:rPr>
              <a:t> </a:t>
            </a:r>
            <a:fld id="{AA807A42-CF27-4B84-8583-18EBE418342E}" type="slidenum">
              <a:rPr kumimoji="0" lang="de-DE"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9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0" name="Objekt 79" hidden="1"/>
          <p:cNvGraphicFramePr>
            <a:graphicFrameLocks noChangeAspect="1"/>
          </p:cNvGraphicFramePr>
          <p:nvPr/>
        </p:nvGraphicFramePr>
        <p:xfrm>
          <a:off x="0" y="0"/>
          <a:ext cx="158750" cy="158750"/>
        </p:xfrm>
        <a:graphic>
          <a:graphicData uri="http://schemas.openxmlformats.org/presentationml/2006/ole">
            <p:oleObj spid="_x0000_s166914" name="think-cell Folie" r:id="rId3" imgW="360" imgH="360" progId="TCLayout.ActiveDocument.1">
              <p:embed/>
            </p:oleObj>
          </a:graphicData>
        </a:graphic>
      </p:graphicFrame>
      <p:sp>
        <p:nvSpPr>
          <p:cNvPr id="83" name="Rechteck 82"/>
          <p:cNvSpPr/>
          <p:nvPr/>
        </p:nvSpPr>
        <p:spPr>
          <a:xfrm>
            <a:off x="471464" y="2487931"/>
            <a:ext cx="8194090" cy="4068000"/>
          </a:xfrm>
          <a:prstGeom prst="rect">
            <a:avLst/>
          </a:prstGeom>
          <a:solidFill>
            <a:schemeClr val="bg1">
              <a:lumMod val="7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endParaRPr lang="de-DE" sz="1400" dirty="0" smtClean="0">
              <a:solidFill>
                <a:prstClr val="black"/>
              </a:solidFill>
            </a:endParaRPr>
          </a:p>
        </p:txBody>
      </p:sp>
      <p:sp>
        <p:nvSpPr>
          <p:cNvPr id="84" name="Rechteck 83"/>
          <p:cNvSpPr/>
          <p:nvPr/>
        </p:nvSpPr>
        <p:spPr>
          <a:xfrm>
            <a:off x="471464" y="5180564"/>
            <a:ext cx="8194090" cy="1397736"/>
          </a:xfrm>
          <a:prstGeom prst="rect">
            <a:avLst/>
          </a:prstGeom>
          <a:solidFill>
            <a:schemeClr val="bg1">
              <a:lumMod val="7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b" anchorCtr="0"/>
          <a:lstStyle/>
          <a:p>
            <a:r>
              <a:rPr lang="de-DE" sz="1200" b="1" smtClean="0">
                <a:solidFill>
                  <a:prstClr val="black"/>
                </a:solidFill>
              </a:rPr>
              <a:t>Derivative</a:t>
            </a:r>
            <a:endParaRPr lang="de-DE" sz="1200" b="1" dirty="0" smtClean="0">
              <a:solidFill>
                <a:prstClr val="black"/>
              </a:solidFill>
            </a:endParaRPr>
          </a:p>
        </p:txBody>
      </p:sp>
      <p:sp>
        <p:nvSpPr>
          <p:cNvPr id="4" name="Textplatzhalter 3"/>
          <p:cNvSpPr>
            <a:spLocks noGrp="1"/>
          </p:cNvSpPr>
          <p:nvPr>
            <p:ph type="body" sz="quarter" idx="13"/>
          </p:nvPr>
        </p:nvSpPr>
        <p:spPr/>
        <p:txBody>
          <a:bodyPr/>
          <a:lstStyle/>
          <a:p>
            <a:r>
              <a:rPr lang="de-DE" dirty="0" err="1" smtClean="0"/>
              <a:t>Processes</a:t>
            </a:r>
            <a:r>
              <a:rPr lang="de-DE" dirty="0" smtClean="0"/>
              <a:t> in </a:t>
            </a:r>
            <a:r>
              <a:rPr lang="de-DE" dirty="0" err="1" smtClean="0"/>
              <a:t>maturity</a:t>
            </a:r>
            <a:r>
              <a:rPr lang="de-DE" dirty="0" smtClean="0"/>
              <a:t> LEVEL </a:t>
            </a:r>
            <a:r>
              <a:rPr lang="de-DE" dirty="0" err="1" smtClean="0"/>
              <a:t>management</a:t>
            </a:r>
            <a:r>
              <a:rPr lang="de-DE" dirty="0" smtClean="0"/>
              <a:t> </a:t>
            </a:r>
            <a:r>
              <a:rPr lang="de-DE" dirty="0" err="1" smtClean="0"/>
              <a:t>adapted</a:t>
            </a:r>
            <a:r>
              <a:rPr lang="de-DE" dirty="0" smtClean="0"/>
              <a:t> </a:t>
            </a:r>
            <a:r>
              <a:rPr lang="de-DE" dirty="0" err="1" smtClean="0"/>
              <a:t>to</a:t>
            </a:r>
            <a:r>
              <a:rPr lang="de-DE" dirty="0" smtClean="0"/>
              <a:t> Virtual / HW </a:t>
            </a:r>
            <a:r>
              <a:rPr lang="de-DE" dirty="0" err="1" smtClean="0"/>
              <a:t>Prototypes</a:t>
            </a:r>
            <a:r>
              <a:rPr lang="de-DE" baseline="30000" dirty="0" smtClean="0"/>
              <a:t>*</a:t>
            </a:r>
            <a:r>
              <a:rPr lang="de-DE" dirty="0" smtClean="0"/>
              <a:t> </a:t>
            </a:r>
            <a:r>
              <a:rPr lang="de-DE" dirty="0" err="1" smtClean="0"/>
              <a:t>iN</a:t>
            </a:r>
            <a:r>
              <a:rPr lang="de-DE" dirty="0" smtClean="0"/>
              <a:t> I</a:t>
            </a:r>
            <a:r>
              <a:rPr lang="de-DE" cap="none" dirty="0" smtClean="0"/>
              <a:t>t</a:t>
            </a:r>
            <a:r>
              <a:rPr lang="de-DE" dirty="0" smtClean="0"/>
              <a:t>O.</a:t>
            </a:r>
          </a:p>
          <a:p>
            <a:endParaRPr lang="de-DE" dirty="0"/>
          </a:p>
        </p:txBody>
      </p:sp>
      <p:sp>
        <p:nvSpPr>
          <p:cNvPr id="140" name="Textfeld 123"/>
          <p:cNvSpPr txBox="1">
            <a:spLocks noChangeArrowheads="1"/>
          </p:cNvSpPr>
          <p:nvPr/>
        </p:nvSpPr>
        <p:spPr bwMode="auto">
          <a:xfrm>
            <a:off x="3779912" y="6584384"/>
            <a:ext cx="4465092" cy="230832"/>
          </a:xfrm>
          <a:prstGeom prst="rect">
            <a:avLst/>
          </a:prstGeom>
          <a:noFill/>
          <a:ln w="9525">
            <a:noFill/>
            <a:miter lim="800000"/>
            <a:headEnd/>
            <a:tailEnd/>
          </a:ln>
        </p:spPr>
        <p:txBody>
          <a:bodyPr wrap="square">
            <a:spAutoFit/>
          </a:bodyPr>
          <a:lstStyle/>
          <a:p>
            <a:pPr algn="ctr"/>
            <a:r>
              <a:rPr lang="de-DE" sz="900" smtClean="0">
                <a:solidFill>
                  <a:prstClr val="black"/>
                </a:solidFill>
              </a:rPr>
              <a:t>Note: Time frames based on  ItO incl. set-up and  trial time                                     * ramp-up 07er</a:t>
            </a:r>
            <a:endParaRPr lang="de-DE" sz="1400" dirty="0">
              <a:solidFill>
                <a:srgbClr val="FF0000"/>
              </a:solidFill>
            </a:endParaRPr>
          </a:p>
        </p:txBody>
      </p:sp>
      <p:sp>
        <p:nvSpPr>
          <p:cNvPr id="206" name="L-Form 205"/>
          <p:cNvSpPr/>
          <p:nvPr/>
        </p:nvSpPr>
        <p:spPr>
          <a:xfrm flipH="1">
            <a:off x="471463" y="3616137"/>
            <a:ext cx="8194395" cy="1566155"/>
          </a:xfrm>
          <a:prstGeom prst="corner">
            <a:avLst>
              <a:gd name="adj1" fmla="val 78213"/>
              <a:gd name="adj2" fmla="val 810466"/>
            </a:avLst>
          </a:prstGeom>
          <a:solidFill>
            <a:schemeClr val="tx2">
              <a:lumMod val="40000"/>
              <a:lumOff val="6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b" anchorCtr="0"/>
          <a:lstStyle/>
          <a:p>
            <a:r>
              <a:rPr lang="de-DE" sz="1200" b="1" smtClean="0">
                <a:solidFill>
                  <a:prstClr val="black"/>
                </a:solidFill>
              </a:rPr>
              <a:t>Architecture</a:t>
            </a:r>
            <a:endParaRPr lang="de-DE" sz="1200" b="1" dirty="0" smtClean="0">
              <a:solidFill>
                <a:prstClr val="black"/>
              </a:solidFill>
            </a:endParaRPr>
          </a:p>
        </p:txBody>
      </p:sp>
      <p:sp>
        <p:nvSpPr>
          <p:cNvPr id="134" name="Rechteck 133"/>
          <p:cNvSpPr/>
          <p:nvPr/>
        </p:nvSpPr>
        <p:spPr>
          <a:xfrm>
            <a:off x="677145" y="3645022"/>
            <a:ext cx="738633" cy="2950123"/>
          </a:xfrm>
          <a:prstGeom prst="rect">
            <a:avLst/>
          </a:pr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8" name="Rechteck 137"/>
          <p:cNvSpPr/>
          <p:nvPr/>
        </p:nvSpPr>
        <p:spPr>
          <a:xfrm>
            <a:off x="2032313" y="3069023"/>
            <a:ext cx="950986" cy="3532864"/>
          </a:xfrm>
          <a:prstGeom prst="rect">
            <a:avLst/>
          </a:pr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9" name="Rechteck 138"/>
          <p:cNvSpPr/>
          <p:nvPr/>
        </p:nvSpPr>
        <p:spPr>
          <a:xfrm>
            <a:off x="2852655" y="2673023"/>
            <a:ext cx="892468" cy="3933498"/>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1" name="Rechteck 140"/>
          <p:cNvSpPr/>
          <p:nvPr/>
        </p:nvSpPr>
        <p:spPr>
          <a:xfrm>
            <a:off x="3536664" y="3068960"/>
            <a:ext cx="1019930" cy="3532864"/>
          </a:xfrm>
          <a:prstGeom prst="rect">
            <a:avLst/>
          </a:pr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2" name="Rechteck 141"/>
          <p:cNvSpPr/>
          <p:nvPr/>
        </p:nvSpPr>
        <p:spPr>
          <a:xfrm>
            <a:off x="4361013" y="2708918"/>
            <a:ext cx="829780" cy="3897077"/>
          </a:xfrm>
          <a:prstGeom prst="rect">
            <a:avLst/>
          </a:pr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4" name="Rechteck 143"/>
          <p:cNvSpPr/>
          <p:nvPr/>
        </p:nvSpPr>
        <p:spPr>
          <a:xfrm>
            <a:off x="6950188" y="3428998"/>
            <a:ext cx="1562389" cy="3168651"/>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47" name="Rechteck 146"/>
          <p:cNvSpPr/>
          <p:nvPr/>
        </p:nvSpPr>
        <p:spPr>
          <a:xfrm>
            <a:off x="1415777" y="2673023"/>
            <a:ext cx="671676" cy="3933498"/>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nvGrpSpPr>
          <p:cNvPr id="2" name="Gruppieren 275"/>
          <p:cNvGrpSpPr/>
          <p:nvPr/>
        </p:nvGrpSpPr>
        <p:grpSpPr>
          <a:xfrm>
            <a:off x="602055" y="3646943"/>
            <a:ext cx="888810" cy="895197"/>
            <a:chOff x="384108" y="3646943"/>
            <a:chExt cx="888810" cy="895197"/>
          </a:xfrm>
        </p:grpSpPr>
        <p:sp>
          <p:nvSpPr>
            <p:cNvPr id="180" name="Abgerundetes Rechteck 179"/>
            <p:cNvSpPr/>
            <p:nvPr/>
          </p:nvSpPr>
          <p:spPr bwMode="auto">
            <a:xfrm>
              <a:off x="460071" y="3646943"/>
              <a:ext cx="729192" cy="144000"/>
            </a:xfrm>
            <a:prstGeom prst="roundRect">
              <a:avLst>
                <a:gd name="adj" fmla="val 0"/>
              </a:avLst>
            </a:prstGeom>
            <a:solidFill>
              <a:srgbClr val="405A7F"/>
            </a:solidFill>
            <a:ln w="19050" cap="flat" cmpd="sng" algn="ctr">
              <a:solidFill>
                <a:srgbClr val="405A7F"/>
              </a:solidFill>
              <a:prstDash val="solid"/>
              <a:round/>
              <a:headEnd type="none" w="med" len="med"/>
              <a:tailEnd type="none" w="med" len="med"/>
            </a:ln>
            <a:effectLst/>
          </p:spPr>
          <p:txBody>
            <a:bodyPr lIns="36000" tIns="36000" rIns="36000" bIns="36000" anchor="ctr"/>
            <a:lstStyle/>
            <a:p>
              <a:pPr algn="ctr">
                <a:defRPr/>
              </a:pPr>
              <a:endParaRPr lang="de-DE" sz="1000" b="1" dirty="0" smtClean="0">
                <a:solidFill>
                  <a:srgbClr val="FFFFFF"/>
                </a:solidFill>
              </a:endParaRPr>
            </a:p>
          </p:txBody>
        </p:sp>
        <p:sp>
          <p:nvSpPr>
            <p:cNvPr id="145" name="Rechteck 144"/>
            <p:cNvSpPr/>
            <p:nvPr/>
          </p:nvSpPr>
          <p:spPr>
            <a:xfrm>
              <a:off x="549838" y="3789040"/>
              <a:ext cx="540000" cy="753100"/>
            </a:xfrm>
            <a:prstGeom prst="rect">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000" dirty="0" smtClean="0">
                  <a:solidFill>
                    <a:prstClr val="white"/>
                  </a:solidFill>
                </a:rPr>
                <a:t>RS 0</a:t>
              </a:r>
              <a:endParaRPr lang="de-DE" sz="1000" dirty="0">
                <a:solidFill>
                  <a:prstClr val="white"/>
                </a:solidFill>
              </a:endParaRPr>
            </a:p>
          </p:txBody>
        </p:sp>
        <p:sp>
          <p:nvSpPr>
            <p:cNvPr id="146" name="Raute 145"/>
            <p:cNvSpPr/>
            <p:nvPr/>
          </p:nvSpPr>
          <p:spPr bwMode="auto">
            <a:xfrm>
              <a:off x="384108" y="3646943"/>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151" name="Raute 150"/>
            <p:cNvSpPr/>
            <p:nvPr/>
          </p:nvSpPr>
          <p:spPr bwMode="auto">
            <a:xfrm>
              <a:off x="1128918" y="3646943"/>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grpSp>
      <p:grpSp>
        <p:nvGrpSpPr>
          <p:cNvPr id="3" name="Gruppieren 276"/>
          <p:cNvGrpSpPr/>
          <p:nvPr/>
        </p:nvGrpSpPr>
        <p:grpSpPr>
          <a:xfrm>
            <a:off x="1339556" y="3871231"/>
            <a:ext cx="821359" cy="896461"/>
            <a:chOff x="1121608" y="3871229"/>
            <a:chExt cx="821359" cy="896461"/>
          </a:xfrm>
        </p:grpSpPr>
        <p:sp>
          <p:nvSpPr>
            <p:cNvPr id="253" name="Abgerundetes Rechteck 252"/>
            <p:cNvSpPr/>
            <p:nvPr/>
          </p:nvSpPr>
          <p:spPr bwMode="auto">
            <a:xfrm>
              <a:off x="1201913" y="3871229"/>
              <a:ext cx="662400" cy="144000"/>
            </a:xfrm>
            <a:prstGeom prst="roundRect">
              <a:avLst>
                <a:gd name="adj" fmla="val 0"/>
              </a:avLst>
            </a:prstGeom>
            <a:solidFill>
              <a:srgbClr val="405A7F"/>
            </a:solidFill>
            <a:ln w="19050" cap="flat" cmpd="sng" algn="ctr">
              <a:solidFill>
                <a:srgbClr val="405A7F"/>
              </a:solidFill>
              <a:prstDash val="solid"/>
              <a:round/>
              <a:headEnd type="none" w="med" len="med"/>
              <a:tailEnd type="none" w="med" len="med"/>
            </a:ln>
            <a:effectLst/>
          </p:spPr>
          <p:txBody>
            <a:bodyPr lIns="36000" tIns="36000" rIns="36000" bIns="36000" anchor="ctr"/>
            <a:lstStyle/>
            <a:p>
              <a:pPr algn="ctr">
                <a:defRPr/>
              </a:pPr>
              <a:endParaRPr lang="de-DE" sz="1000" b="1" dirty="0" smtClean="0">
                <a:solidFill>
                  <a:srgbClr val="FFFFFF"/>
                </a:solidFill>
              </a:endParaRPr>
            </a:p>
          </p:txBody>
        </p:sp>
        <p:sp>
          <p:nvSpPr>
            <p:cNvPr id="152" name="Raute 151"/>
            <p:cNvSpPr/>
            <p:nvPr/>
          </p:nvSpPr>
          <p:spPr bwMode="auto">
            <a:xfrm>
              <a:off x="1121608" y="3871229"/>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154" name="Raute 153"/>
            <p:cNvSpPr/>
            <p:nvPr/>
          </p:nvSpPr>
          <p:spPr bwMode="auto">
            <a:xfrm>
              <a:off x="1798967" y="3871229"/>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187" name="Rechteck 186"/>
            <p:cNvSpPr/>
            <p:nvPr/>
          </p:nvSpPr>
          <p:spPr>
            <a:xfrm>
              <a:off x="1187624" y="4014590"/>
              <a:ext cx="720080" cy="753100"/>
            </a:xfrm>
            <a:prstGeom prst="rect">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000" dirty="0" smtClean="0">
                  <a:solidFill>
                    <a:prstClr val="white"/>
                  </a:solidFill>
                </a:rPr>
                <a:t>RS 100</a:t>
              </a:r>
              <a:endParaRPr lang="de-DE" sz="1000" dirty="0">
                <a:solidFill>
                  <a:prstClr val="white"/>
                </a:solidFill>
              </a:endParaRPr>
            </a:p>
          </p:txBody>
        </p:sp>
      </p:grpSp>
      <p:sp>
        <p:nvSpPr>
          <p:cNvPr id="242" name="Rechteck 241"/>
          <p:cNvSpPr/>
          <p:nvPr/>
        </p:nvSpPr>
        <p:spPr>
          <a:xfrm>
            <a:off x="5942075" y="3284983"/>
            <a:ext cx="1464795" cy="3314311"/>
          </a:xfrm>
          <a:prstGeom prst="rect">
            <a:avLst/>
          </a:prstGeom>
          <a:noFill/>
          <a:ln w="63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251" name="Rechteck 250"/>
          <p:cNvSpPr/>
          <p:nvPr/>
        </p:nvSpPr>
        <p:spPr>
          <a:xfrm>
            <a:off x="4111767" y="3356991"/>
            <a:ext cx="2253031" cy="3249029"/>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6" name="Abgerundetes Rechteck 5"/>
          <p:cNvSpPr/>
          <p:nvPr/>
        </p:nvSpPr>
        <p:spPr bwMode="auto">
          <a:xfrm>
            <a:off x="1415777" y="2564920"/>
            <a:ext cx="673200" cy="144000"/>
          </a:xfrm>
          <a:prstGeom prst="roundRect">
            <a:avLst>
              <a:gd name="adj" fmla="val 0"/>
            </a:avLst>
          </a:prstGeom>
          <a:solidFill>
            <a:schemeClr val="bg2">
              <a:lumMod val="60000"/>
              <a:lumOff val="40000"/>
            </a:schemeClr>
          </a:solidFill>
          <a:ln w="19050" cap="flat" cmpd="sng" algn="ctr">
            <a:solidFill>
              <a:schemeClr val="bg2">
                <a:lumMod val="60000"/>
                <a:lumOff val="40000"/>
              </a:schemeClr>
            </a:solidFill>
            <a:prstDash val="solid"/>
            <a:round/>
            <a:headEnd type="none" w="med" len="med"/>
            <a:tailEnd type="none" w="med" len="med"/>
          </a:ln>
          <a:effectLst/>
        </p:spPr>
        <p:txBody>
          <a:bodyPr lIns="36000" tIns="36000" rIns="36000" bIns="36000" anchor="ctr"/>
          <a:lstStyle/>
          <a:p>
            <a:pPr algn="ctr">
              <a:defRPr/>
            </a:pPr>
            <a:r>
              <a:rPr lang="de-DE" sz="1000" b="1" dirty="0" smtClean="0">
                <a:solidFill>
                  <a:srgbClr val="FFFFFF"/>
                </a:solidFill>
              </a:rPr>
              <a:t>VABG0</a:t>
            </a:r>
            <a:endParaRPr lang="de-DE" sz="1000" b="1" dirty="0">
              <a:solidFill>
                <a:srgbClr val="FFFFFF"/>
              </a:solidFill>
            </a:endParaRPr>
          </a:p>
        </p:txBody>
      </p:sp>
      <p:sp>
        <p:nvSpPr>
          <p:cNvPr id="135" name="Abgerundetes Rechteck 134"/>
          <p:cNvSpPr/>
          <p:nvPr/>
        </p:nvSpPr>
        <p:spPr bwMode="auto">
          <a:xfrm>
            <a:off x="2851654" y="2564920"/>
            <a:ext cx="885849" cy="144000"/>
          </a:xfrm>
          <a:prstGeom prst="roundRect">
            <a:avLst>
              <a:gd name="adj" fmla="val 0"/>
            </a:avLst>
          </a:prstGeom>
          <a:solidFill>
            <a:schemeClr val="bg2">
              <a:lumMod val="60000"/>
              <a:lumOff val="40000"/>
            </a:schemeClr>
          </a:solidFill>
          <a:ln w="19050" cap="flat" cmpd="sng" algn="ctr">
            <a:solidFill>
              <a:schemeClr val="bg2">
                <a:lumMod val="60000"/>
                <a:lumOff val="40000"/>
              </a:schemeClr>
            </a:solidFill>
            <a:prstDash val="solid"/>
            <a:round/>
            <a:headEnd type="none" w="med" len="med"/>
            <a:tailEnd type="none" w="med" len="med"/>
          </a:ln>
          <a:effectLst/>
        </p:spPr>
        <p:txBody>
          <a:bodyPr lIns="36000" tIns="36000" rIns="36000" bIns="36000" anchor="ctr"/>
          <a:lstStyle/>
          <a:p>
            <a:pPr algn="ctr">
              <a:defRPr/>
            </a:pPr>
            <a:r>
              <a:rPr lang="de-DE" sz="1000" b="1" dirty="0">
                <a:solidFill>
                  <a:srgbClr val="FFFFFF"/>
                </a:solidFill>
              </a:rPr>
              <a:t>VABG2</a:t>
            </a:r>
          </a:p>
        </p:txBody>
      </p:sp>
      <p:sp>
        <p:nvSpPr>
          <p:cNvPr id="218" name="Abgerundetes Rechteck 217"/>
          <p:cNvSpPr/>
          <p:nvPr/>
        </p:nvSpPr>
        <p:spPr bwMode="auto">
          <a:xfrm>
            <a:off x="4368326" y="2564920"/>
            <a:ext cx="824400" cy="144000"/>
          </a:xfrm>
          <a:prstGeom prst="roundRect">
            <a:avLst>
              <a:gd name="adj" fmla="val 0"/>
            </a:avLst>
          </a:prstGeom>
          <a:solidFill>
            <a:schemeClr val="bg2">
              <a:lumMod val="60000"/>
              <a:lumOff val="40000"/>
            </a:schemeClr>
          </a:solidFill>
          <a:ln w="19050" cap="flat" cmpd="sng" algn="ctr">
            <a:solidFill>
              <a:schemeClr val="bg2">
                <a:lumMod val="60000"/>
                <a:lumOff val="40000"/>
              </a:schemeClr>
            </a:solidFill>
            <a:prstDash val="solid"/>
            <a:round/>
            <a:headEnd type="none" w="med" len="med"/>
            <a:tailEnd type="none" w="med" len="med"/>
          </a:ln>
          <a:effectLst/>
        </p:spPr>
        <p:txBody>
          <a:bodyPr lIns="36000" tIns="36000" rIns="36000" bIns="36000" anchor="ctr"/>
          <a:lstStyle/>
          <a:p>
            <a:pPr algn="ctr">
              <a:defRPr/>
            </a:pPr>
            <a:r>
              <a:rPr lang="de-DE" sz="1000" b="1" dirty="0" smtClean="0">
                <a:solidFill>
                  <a:srgbClr val="FFFFFF"/>
                </a:solidFill>
              </a:rPr>
              <a:t>VBBG</a:t>
            </a:r>
            <a:endParaRPr lang="de-DE" sz="1000" b="1" dirty="0">
              <a:solidFill>
                <a:srgbClr val="FFFFFF"/>
              </a:solidFill>
            </a:endParaRPr>
          </a:p>
        </p:txBody>
      </p:sp>
      <p:sp>
        <p:nvSpPr>
          <p:cNvPr id="7" name="Abgerundetes Rechteck 6"/>
          <p:cNvSpPr/>
          <p:nvPr/>
        </p:nvSpPr>
        <p:spPr bwMode="auto">
          <a:xfrm>
            <a:off x="2032313" y="2924944"/>
            <a:ext cx="950400" cy="144000"/>
          </a:xfrm>
          <a:prstGeom prst="roundRect">
            <a:avLst>
              <a:gd name="adj" fmla="val 0"/>
            </a:avLst>
          </a:prstGeom>
          <a:solidFill>
            <a:schemeClr val="bg2">
              <a:lumMod val="60000"/>
              <a:lumOff val="40000"/>
            </a:schemeClr>
          </a:solidFill>
          <a:ln w="19050" cap="flat" cmpd="sng" algn="ctr">
            <a:solidFill>
              <a:schemeClr val="bg2">
                <a:lumMod val="60000"/>
                <a:lumOff val="40000"/>
              </a:schemeClr>
            </a:solidFill>
            <a:prstDash val="solid"/>
            <a:round/>
            <a:headEnd type="none" w="med" len="med"/>
            <a:tailEnd type="none" w="med" len="med"/>
          </a:ln>
          <a:effectLst/>
        </p:spPr>
        <p:txBody>
          <a:bodyPr lIns="36000" tIns="36000" rIns="36000" bIns="36000" anchor="ctr"/>
          <a:lstStyle/>
          <a:p>
            <a:pPr algn="ctr">
              <a:defRPr/>
            </a:pPr>
            <a:r>
              <a:rPr lang="de-DE" sz="1000" b="1" dirty="0">
                <a:solidFill>
                  <a:srgbClr val="FFFFFF"/>
                </a:solidFill>
              </a:rPr>
              <a:t>VABG1</a:t>
            </a:r>
          </a:p>
        </p:txBody>
      </p:sp>
      <p:sp>
        <p:nvSpPr>
          <p:cNvPr id="217" name="Abgerundetes Rechteck 216"/>
          <p:cNvSpPr/>
          <p:nvPr/>
        </p:nvSpPr>
        <p:spPr bwMode="auto">
          <a:xfrm>
            <a:off x="3536663" y="2924944"/>
            <a:ext cx="1024930" cy="144000"/>
          </a:xfrm>
          <a:prstGeom prst="roundRect">
            <a:avLst>
              <a:gd name="adj" fmla="val 0"/>
            </a:avLst>
          </a:prstGeom>
          <a:solidFill>
            <a:schemeClr val="bg2">
              <a:lumMod val="60000"/>
              <a:lumOff val="40000"/>
            </a:schemeClr>
          </a:solidFill>
          <a:ln w="19050" cap="flat" cmpd="sng" algn="ctr">
            <a:solidFill>
              <a:schemeClr val="bg2">
                <a:lumMod val="60000"/>
                <a:lumOff val="40000"/>
              </a:schemeClr>
            </a:solidFill>
            <a:prstDash val="solid"/>
            <a:round/>
            <a:headEnd type="none" w="med" len="med"/>
            <a:tailEnd type="none" w="med" len="med"/>
          </a:ln>
          <a:effectLst/>
        </p:spPr>
        <p:txBody>
          <a:bodyPr lIns="36000" tIns="36000" rIns="36000" bIns="36000" anchor="ctr"/>
          <a:lstStyle/>
          <a:p>
            <a:pPr algn="ctr">
              <a:defRPr/>
            </a:pPr>
            <a:r>
              <a:rPr lang="de-DE" sz="1000" b="1" dirty="0" smtClean="0">
                <a:solidFill>
                  <a:srgbClr val="FFFFFF"/>
                </a:solidFill>
              </a:rPr>
              <a:t>VKBG</a:t>
            </a:r>
            <a:endParaRPr lang="de-DE" sz="1000" b="1" dirty="0">
              <a:solidFill>
                <a:srgbClr val="FFFFFF"/>
              </a:solidFill>
            </a:endParaRPr>
          </a:p>
        </p:txBody>
      </p:sp>
      <p:sp>
        <p:nvSpPr>
          <p:cNvPr id="196" name="Flussdiagramm: Manuelle Verarbeitung 195"/>
          <p:cNvSpPr/>
          <p:nvPr/>
        </p:nvSpPr>
        <p:spPr>
          <a:xfrm rot="10800000">
            <a:off x="1710909" y="4221087"/>
            <a:ext cx="1598256" cy="2335957"/>
          </a:xfrm>
          <a:prstGeom prst="flowChartManualOperation">
            <a:avLst/>
          </a:prstGeom>
          <a:solidFill>
            <a:schemeClr val="bg2">
              <a:lumMod val="75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97" name="Abgerundetes Rechteck 196"/>
          <p:cNvSpPr/>
          <p:nvPr/>
        </p:nvSpPr>
        <p:spPr bwMode="auto">
          <a:xfrm>
            <a:off x="1832510" y="5954880"/>
            <a:ext cx="1347002" cy="152494"/>
          </a:xfrm>
          <a:prstGeom prst="roundRect">
            <a:avLst>
              <a:gd name="adj" fmla="val 0"/>
            </a:avLst>
          </a:prstGeom>
          <a:solidFill>
            <a:schemeClr val="bg2">
              <a:lumMod val="60000"/>
              <a:lumOff val="40000"/>
            </a:schemeClr>
          </a:solidFill>
          <a:ln w="19050" cap="flat" cmpd="sng" algn="ctr">
            <a:solidFill>
              <a:schemeClr val="bg2">
                <a:lumMod val="60000"/>
                <a:lumOff val="40000"/>
              </a:schemeClr>
            </a:solidFill>
            <a:prstDash val="solid"/>
            <a:round/>
            <a:headEnd type="none" w="med" len="med"/>
            <a:tailEnd type="none" w="med" len="med"/>
          </a:ln>
          <a:effectLst/>
        </p:spPr>
        <p:txBody>
          <a:bodyPr lIns="36000" tIns="36000" rIns="36000" bIns="36000" anchor="ctr"/>
          <a:lstStyle/>
          <a:p>
            <a:pPr algn="ctr">
              <a:defRPr/>
            </a:pPr>
            <a:r>
              <a:rPr lang="de-DE" sz="800" smtClean="0">
                <a:solidFill>
                  <a:srgbClr val="FFFFFF"/>
                </a:solidFill>
              </a:rPr>
              <a:t>Process of a maturity gate</a:t>
            </a:r>
            <a:endParaRPr lang="de-DE" sz="800" dirty="0">
              <a:solidFill>
                <a:srgbClr val="FFFFFF"/>
              </a:solidFill>
            </a:endParaRPr>
          </a:p>
        </p:txBody>
      </p:sp>
      <p:pic>
        <p:nvPicPr>
          <p:cNvPr id="185347" name="Picture 3"/>
          <p:cNvPicPr>
            <a:picLocks noChangeAspect="1" noChangeArrowheads="1"/>
          </p:cNvPicPr>
          <p:nvPr/>
        </p:nvPicPr>
        <p:blipFill>
          <a:blip r:embed="rId4" cstate="print"/>
          <a:srcRect/>
          <a:stretch>
            <a:fillRect/>
          </a:stretch>
        </p:blipFill>
        <p:spPr bwMode="auto">
          <a:xfrm>
            <a:off x="1793191" y="6198783"/>
            <a:ext cx="1451105" cy="233030"/>
          </a:xfrm>
          <a:prstGeom prst="rect">
            <a:avLst/>
          </a:prstGeom>
          <a:noFill/>
          <a:ln w="9525">
            <a:noFill/>
            <a:miter lim="800000"/>
            <a:headEnd/>
            <a:tailEnd/>
          </a:ln>
          <a:effectLst/>
        </p:spPr>
      </p:pic>
      <p:sp>
        <p:nvSpPr>
          <p:cNvPr id="209" name="Fußzeilenplatzhalter 89"/>
          <p:cNvSpPr>
            <a:spLocks noGrp="1"/>
          </p:cNvSpPr>
          <p:nvPr>
            <p:ph type="ftr" sz="quarter" idx="4294967295"/>
          </p:nvPr>
        </p:nvSpPr>
        <p:spPr>
          <a:xfrm>
            <a:off x="468313" y="6526233"/>
            <a:ext cx="3097252" cy="331787"/>
          </a:xfrm>
          <a:prstGeom prst="rect">
            <a:avLst/>
          </a:prstGeom>
        </p:spPr>
        <p:txBody>
          <a:bodyPr/>
          <a:lstStyle/>
          <a:p>
            <a:pPr algn="l"/>
            <a:r>
              <a:rPr lang="en-US" smtClean="0">
                <a:solidFill>
                  <a:prstClr val="black"/>
                </a:solidFill>
              </a:rPr>
              <a:t>Maturity Level Management Total Vehicle, Communication, Version 4.2</a:t>
            </a:r>
            <a:endParaRPr lang="de-DE" dirty="0">
              <a:solidFill>
                <a:prstClr val="black"/>
              </a:solidFill>
            </a:endParaRPr>
          </a:p>
        </p:txBody>
      </p:sp>
      <p:grpSp>
        <p:nvGrpSpPr>
          <p:cNvPr id="5" name="Gruppieren 220"/>
          <p:cNvGrpSpPr/>
          <p:nvPr/>
        </p:nvGrpSpPr>
        <p:grpSpPr>
          <a:xfrm>
            <a:off x="366954" y="1451313"/>
            <a:ext cx="8384950" cy="1014333"/>
            <a:chOff x="129957" y="1451311"/>
            <a:chExt cx="8384950" cy="1014333"/>
          </a:xfrm>
        </p:grpSpPr>
        <p:grpSp>
          <p:nvGrpSpPr>
            <p:cNvPr id="9" name="Gruppieren 219"/>
            <p:cNvGrpSpPr/>
            <p:nvPr/>
          </p:nvGrpSpPr>
          <p:grpSpPr>
            <a:xfrm>
              <a:off x="141412" y="1451311"/>
              <a:ext cx="8373495" cy="1014333"/>
              <a:chOff x="141412" y="1451311"/>
              <a:chExt cx="8373495" cy="1014333"/>
            </a:xfrm>
          </p:grpSpPr>
          <p:sp>
            <p:nvSpPr>
              <p:cNvPr id="81" name="Eingekerbter Richtungspfeil 80"/>
              <p:cNvSpPr/>
              <p:nvPr/>
            </p:nvSpPr>
            <p:spPr>
              <a:xfrm>
                <a:off x="2425327" y="1651710"/>
                <a:ext cx="1171868" cy="360000"/>
              </a:xfrm>
              <a:prstGeom prst="chevron">
                <a:avLst>
                  <a:gd name="adj" fmla="val 29326"/>
                </a:avLst>
              </a:prstGeom>
              <a:solidFill>
                <a:srgbClr val="EBADAD"/>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black"/>
                  </a:solidFill>
                </a:endParaRPr>
              </a:p>
            </p:txBody>
          </p:sp>
          <p:sp>
            <p:nvSpPr>
              <p:cNvPr id="82" name="Eingekerbter Richtungspfeil 81"/>
              <p:cNvSpPr/>
              <p:nvPr/>
            </p:nvSpPr>
            <p:spPr>
              <a:xfrm>
                <a:off x="3506935" y="1651710"/>
                <a:ext cx="907424" cy="360000"/>
              </a:xfrm>
              <a:prstGeom prst="chevron">
                <a:avLst>
                  <a:gd name="adj" fmla="val 26372"/>
                </a:avLst>
              </a:prstGeom>
              <a:solidFill>
                <a:srgbClr val="FFC000"/>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black"/>
                  </a:solidFill>
                </a:endParaRPr>
              </a:p>
            </p:txBody>
          </p:sp>
          <p:sp>
            <p:nvSpPr>
              <p:cNvPr id="85" name="Eingekerbter Richtungspfeil 84"/>
              <p:cNvSpPr/>
              <p:nvPr/>
            </p:nvSpPr>
            <p:spPr>
              <a:xfrm>
                <a:off x="1116594" y="1651710"/>
                <a:ext cx="1388209" cy="360000"/>
              </a:xfrm>
              <a:prstGeom prst="chevron">
                <a:avLst>
                  <a:gd name="adj" fmla="val 26372"/>
                </a:avLst>
              </a:prstGeom>
              <a:solidFill>
                <a:srgbClr val="E08585"/>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black"/>
                  </a:solidFill>
                </a:endParaRPr>
              </a:p>
            </p:txBody>
          </p:sp>
          <p:sp>
            <p:nvSpPr>
              <p:cNvPr id="86" name="Richtungspfeil 85"/>
              <p:cNvSpPr/>
              <p:nvPr/>
            </p:nvSpPr>
            <p:spPr>
              <a:xfrm>
                <a:off x="394205" y="1651710"/>
                <a:ext cx="781245" cy="360000"/>
              </a:xfrm>
              <a:prstGeom prst="homePlate">
                <a:avLst>
                  <a:gd name="adj" fmla="val 20465"/>
                </a:avLst>
              </a:prstGeom>
              <a:solidFill>
                <a:srgbClr val="F1DACC"/>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87" name="Eingekerbter Richtungspfeil 86"/>
              <p:cNvSpPr/>
              <p:nvPr/>
            </p:nvSpPr>
            <p:spPr>
              <a:xfrm>
                <a:off x="4337608" y="1651710"/>
                <a:ext cx="4009416" cy="360000"/>
              </a:xfrm>
              <a:prstGeom prst="chevron">
                <a:avLst>
                  <a:gd name="adj" fmla="val 23419"/>
                </a:avLst>
              </a:prstGeom>
              <a:solidFill>
                <a:srgbClr val="FFFF00"/>
              </a:solid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black"/>
                  </a:solidFill>
                </a:endParaRPr>
              </a:p>
            </p:txBody>
          </p:sp>
          <p:sp>
            <p:nvSpPr>
              <p:cNvPr id="88" name="Raute 87"/>
              <p:cNvSpPr/>
              <p:nvPr/>
            </p:nvSpPr>
            <p:spPr bwMode="auto">
              <a:xfrm>
                <a:off x="8146164" y="1684117"/>
                <a:ext cx="296932" cy="264950"/>
              </a:xfrm>
              <a:prstGeom prst="diamond">
                <a:avLst/>
              </a:prstGeom>
              <a:solidFill>
                <a:schemeClr val="tx2">
                  <a:lumMod val="75000"/>
                </a:schemeClr>
              </a:solidFill>
              <a:ln w="19050" cap="flat" cmpd="sng" algn="ctr">
                <a:solidFill>
                  <a:schemeClr val="bg2"/>
                </a:solid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89" name="Raute 88"/>
              <p:cNvSpPr/>
              <p:nvPr/>
            </p:nvSpPr>
            <p:spPr bwMode="auto">
              <a:xfrm>
                <a:off x="6579111" y="1684117"/>
                <a:ext cx="296932" cy="264950"/>
              </a:xfrm>
              <a:prstGeom prst="diamond">
                <a:avLst/>
              </a:prstGeom>
              <a:solidFill>
                <a:schemeClr val="tx2">
                  <a:lumMod val="75000"/>
                </a:schemeClr>
              </a:solidFill>
              <a:ln w="19050" cap="flat" cmpd="sng" algn="ctr">
                <a:solidFill>
                  <a:schemeClr val="bg2"/>
                </a:solid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91" name="Raute 90"/>
              <p:cNvSpPr/>
              <p:nvPr/>
            </p:nvSpPr>
            <p:spPr bwMode="auto">
              <a:xfrm>
                <a:off x="4211432" y="1684117"/>
                <a:ext cx="296932" cy="264950"/>
              </a:xfrm>
              <a:prstGeom prst="diamond">
                <a:avLst/>
              </a:prstGeom>
              <a:solidFill>
                <a:schemeClr val="tx2">
                  <a:lumMod val="75000"/>
                </a:schemeClr>
              </a:solidFill>
              <a:ln w="19050" cap="flat" cmpd="sng" algn="ctr">
                <a:solidFill>
                  <a:schemeClr val="bg2"/>
                </a:solid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92" name="Textfeld 91"/>
              <p:cNvSpPr txBox="1"/>
              <p:nvPr/>
            </p:nvSpPr>
            <p:spPr>
              <a:xfrm>
                <a:off x="5389037" y="1451311"/>
                <a:ext cx="461986" cy="215444"/>
              </a:xfrm>
              <a:prstGeom prst="rect">
                <a:avLst/>
              </a:prstGeom>
              <a:noFill/>
            </p:spPr>
            <p:txBody>
              <a:bodyPr wrap="none" rtlCol="0">
                <a:spAutoFit/>
              </a:bodyPr>
              <a:lstStyle/>
              <a:p>
                <a:r>
                  <a:rPr lang="de-DE" sz="800" b="1" dirty="0" err="1" smtClean="0">
                    <a:solidFill>
                      <a:prstClr val="black"/>
                    </a:solidFill>
                  </a:rPr>
                  <a:t>xxMvS</a:t>
                </a:r>
                <a:endParaRPr lang="de-DE" sz="800" b="1" dirty="0" smtClean="0">
                  <a:solidFill>
                    <a:prstClr val="black"/>
                  </a:solidFill>
                </a:endParaRPr>
              </a:p>
            </p:txBody>
          </p:sp>
          <p:sp>
            <p:nvSpPr>
              <p:cNvPr id="93" name="Textfeld 92"/>
              <p:cNvSpPr txBox="1"/>
              <p:nvPr/>
            </p:nvSpPr>
            <p:spPr>
              <a:xfrm>
                <a:off x="8054059" y="1451311"/>
                <a:ext cx="415498" cy="215444"/>
              </a:xfrm>
              <a:prstGeom prst="rect">
                <a:avLst/>
              </a:prstGeom>
              <a:noFill/>
            </p:spPr>
            <p:txBody>
              <a:bodyPr wrap="none" rtlCol="0">
                <a:spAutoFit/>
              </a:bodyPr>
              <a:lstStyle/>
              <a:p>
                <a:r>
                  <a:rPr lang="de-DE" sz="800" b="1" dirty="0" err="1" smtClean="0">
                    <a:solidFill>
                      <a:prstClr val="black"/>
                    </a:solidFill>
                  </a:rPr>
                  <a:t>xMvS</a:t>
                </a:r>
                <a:endParaRPr lang="de-DE" sz="800" b="1" dirty="0" smtClean="0">
                  <a:solidFill>
                    <a:prstClr val="black"/>
                  </a:solidFill>
                </a:endParaRPr>
              </a:p>
            </p:txBody>
          </p:sp>
          <p:sp>
            <p:nvSpPr>
              <p:cNvPr id="94" name="Textfeld 93"/>
              <p:cNvSpPr txBox="1"/>
              <p:nvPr/>
            </p:nvSpPr>
            <p:spPr>
              <a:xfrm>
                <a:off x="6433006" y="1451311"/>
                <a:ext cx="461986" cy="215444"/>
              </a:xfrm>
              <a:prstGeom prst="rect">
                <a:avLst/>
              </a:prstGeom>
              <a:noFill/>
            </p:spPr>
            <p:txBody>
              <a:bodyPr wrap="none" rtlCol="0">
                <a:spAutoFit/>
              </a:bodyPr>
              <a:lstStyle/>
              <a:p>
                <a:r>
                  <a:rPr lang="de-DE" sz="800" b="1" dirty="0" err="1" smtClean="0">
                    <a:solidFill>
                      <a:prstClr val="black"/>
                    </a:solidFill>
                  </a:rPr>
                  <a:t>xxMvS</a:t>
                </a:r>
                <a:endParaRPr lang="de-DE" sz="800" b="1" dirty="0" smtClean="0">
                  <a:solidFill>
                    <a:prstClr val="black"/>
                  </a:solidFill>
                </a:endParaRPr>
              </a:p>
            </p:txBody>
          </p:sp>
          <p:sp>
            <p:nvSpPr>
              <p:cNvPr id="95" name="Raute 94"/>
              <p:cNvSpPr/>
              <p:nvPr/>
            </p:nvSpPr>
            <p:spPr bwMode="auto">
              <a:xfrm>
                <a:off x="5514671" y="1684117"/>
                <a:ext cx="296932" cy="264950"/>
              </a:xfrm>
              <a:prstGeom prst="diamond">
                <a:avLst/>
              </a:prstGeom>
              <a:solidFill>
                <a:schemeClr val="tx2">
                  <a:lumMod val="75000"/>
                </a:schemeClr>
              </a:solidFill>
              <a:ln w="19050" cap="flat" cmpd="sng" algn="ctr">
                <a:solidFill>
                  <a:schemeClr val="bg2"/>
                </a:solid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96" name="Raute 95"/>
              <p:cNvSpPr/>
              <p:nvPr/>
            </p:nvSpPr>
            <p:spPr bwMode="auto">
              <a:xfrm>
                <a:off x="2294572" y="1684117"/>
                <a:ext cx="296932" cy="264950"/>
              </a:xfrm>
              <a:prstGeom prst="diamond">
                <a:avLst/>
              </a:prstGeom>
              <a:solidFill>
                <a:schemeClr val="tx2">
                  <a:lumMod val="75000"/>
                </a:schemeClr>
              </a:solidFill>
              <a:ln w="19050" cap="flat" cmpd="sng" algn="ctr">
                <a:solidFill>
                  <a:schemeClr val="bg2"/>
                </a:solid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97" name="Raute 96"/>
              <p:cNvSpPr/>
              <p:nvPr/>
            </p:nvSpPr>
            <p:spPr bwMode="auto">
              <a:xfrm>
                <a:off x="241592" y="1684117"/>
                <a:ext cx="296932" cy="264950"/>
              </a:xfrm>
              <a:prstGeom prst="diamond">
                <a:avLst/>
              </a:prstGeom>
              <a:solidFill>
                <a:schemeClr val="tx2">
                  <a:lumMod val="75000"/>
                </a:schemeClr>
              </a:solidFill>
              <a:ln w="19050" cap="flat" cmpd="sng" algn="ctr">
                <a:solidFill>
                  <a:schemeClr val="bg2"/>
                </a:solid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98" name="Textfeld 97"/>
              <p:cNvSpPr txBox="1"/>
              <p:nvPr/>
            </p:nvSpPr>
            <p:spPr>
              <a:xfrm>
                <a:off x="921195" y="2003979"/>
                <a:ext cx="696024" cy="338554"/>
              </a:xfrm>
              <a:prstGeom prst="rect">
                <a:avLst/>
              </a:prstGeom>
              <a:noFill/>
            </p:spPr>
            <p:txBody>
              <a:bodyPr wrap="none" rtlCol="0">
                <a:spAutoFit/>
              </a:bodyPr>
              <a:lstStyle/>
              <a:p>
                <a:r>
                  <a:rPr lang="de-DE" sz="800" b="1" smtClean="0">
                    <a:solidFill>
                      <a:prstClr val="black"/>
                    </a:solidFill>
                  </a:rPr>
                  <a:t>Order for </a:t>
                </a:r>
                <a:endParaRPr lang="de-DE" sz="800" b="1" dirty="0" smtClean="0">
                  <a:solidFill>
                    <a:prstClr val="black"/>
                  </a:solidFill>
                </a:endParaRPr>
              </a:p>
              <a:p>
                <a:r>
                  <a:rPr lang="de-DE" sz="800" b="1" smtClean="0">
                    <a:solidFill>
                      <a:prstClr val="black"/>
                    </a:solidFill>
                  </a:rPr>
                  <a:t>initial phase</a:t>
                </a:r>
                <a:endParaRPr lang="de-DE" sz="800" b="1" dirty="0" smtClean="0">
                  <a:solidFill>
                    <a:prstClr val="black"/>
                  </a:solidFill>
                </a:endParaRPr>
              </a:p>
            </p:txBody>
          </p:sp>
          <p:sp>
            <p:nvSpPr>
              <p:cNvPr id="99" name="Textfeld 98"/>
              <p:cNvSpPr txBox="1"/>
              <p:nvPr/>
            </p:nvSpPr>
            <p:spPr>
              <a:xfrm>
                <a:off x="2045535" y="2003979"/>
                <a:ext cx="779224" cy="461665"/>
              </a:xfrm>
              <a:prstGeom prst="rect">
                <a:avLst/>
              </a:prstGeom>
              <a:noFill/>
            </p:spPr>
            <p:txBody>
              <a:bodyPr wrap="square" rtlCol="0">
                <a:spAutoFit/>
              </a:bodyPr>
              <a:lstStyle/>
              <a:p>
                <a:r>
                  <a:rPr lang="de-DE" sz="800" b="1" smtClean="0">
                    <a:solidFill>
                      <a:prstClr val="black"/>
                    </a:solidFill>
                  </a:rPr>
                  <a:t>Confirmation </a:t>
                </a:r>
                <a:br>
                  <a:rPr lang="de-DE" sz="800" b="1" smtClean="0">
                    <a:solidFill>
                      <a:prstClr val="black"/>
                    </a:solidFill>
                  </a:rPr>
                </a:br>
                <a:r>
                  <a:rPr lang="de-DE" sz="800" b="1" smtClean="0">
                    <a:solidFill>
                      <a:prstClr val="black"/>
                    </a:solidFill>
                  </a:rPr>
                  <a:t>of target frame</a:t>
                </a:r>
                <a:endParaRPr lang="de-DE" sz="800" b="1" dirty="0">
                  <a:solidFill>
                    <a:prstClr val="black"/>
                  </a:solidFill>
                </a:endParaRPr>
              </a:p>
            </p:txBody>
          </p:sp>
          <p:sp>
            <p:nvSpPr>
              <p:cNvPr id="100" name="Textfeld 99"/>
              <p:cNvSpPr txBox="1"/>
              <p:nvPr/>
            </p:nvSpPr>
            <p:spPr>
              <a:xfrm>
                <a:off x="2673451" y="2003979"/>
                <a:ext cx="809837" cy="461665"/>
              </a:xfrm>
              <a:prstGeom prst="rect">
                <a:avLst/>
              </a:prstGeom>
              <a:noFill/>
            </p:spPr>
            <p:txBody>
              <a:bodyPr wrap="none" rtlCol="0">
                <a:spAutoFit/>
              </a:bodyPr>
              <a:lstStyle/>
              <a:p>
                <a:r>
                  <a:rPr lang="de-DE" sz="800" b="1" smtClean="0">
                    <a:solidFill>
                      <a:prstClr val="black"/>
                    </a:solidFill>
                  </a:rPr>
                  <a:t>Confirmation</a:t>
                </a:r>
                <a:br>
                  <a:rPr lang="de-DE" sz="800" b="1" smtClean="0">
                    <a:solidFill>
                      <a:prstClr val="black"/>
                    </a:solidFill>
                  </a:rPr>
                </a:br>
                <a:r>
                  <a:rPr lang="de-DE" sz="800" b="1" smtClean="0">
                    <a:solidFill>
                      <a:prstClr val="black"/>
                    </a:solidFill>
                  </a:rPr>
                  <a:t>of target frame</a:t>
                </a:r>
                <a:br>
                  <a:rPr lang="de-DE" sz="800" b="1" smtClean="0">
                    <a:solidFill>
                      <a:prstClr val="black"/>
                    </a:solidFill>
                  </a:rPr>
                </a:br>
                <a:r>
                  <a:rPr lang="de-DE" sz="800" b="1" smtClean="0">
                    <a:solidFill>
                      <a:prstClr val="black"/>
                    </a:solidFill>
                  </a:rPr>
                  <a:t>for derivatives</a:t>
                </a:r>
                <a:endParaRPr lang="de-DE" sz="800" b="1" dirty="0">
                  <a:solidFill>
                    <a:prstClr val="black"/>
                  </a:solidFill>
                </a:endParaRPr>
              </a:p>
            </p:txBody>
          </p:sp>
          <p:sp>
            <p:nvSpPr>
              <p:cNvPr id="101" name="Textfeld 100"/>
              <p:cNvSpPr txBox="1"/>
              <p:nvPr/>
            </p:nvSpPr>
            <p:spPr>
              <a:xfrm>
                <a:off x="3333881" y="2003979"/>
                <a:ext cx="2069797" cy="461665"/>
              </a:xfrm>
              <a:prstGeom prst="rect">
                <a:avLst/>
              </a:prstGeom>
              <a:noFill/>
            </p:spPr>
            <p:txBody>
              <a:bodyPr wrap="none" rtlCol="0">
                <a:spAutoFit/>
              </a:bodyPr>
              <a:lstStyle/>
              <a:p>
                <a:r>
                  <a:rPr lang="de-DE" sz="800" b="1" dirty="0" smtClean="0">
                    <a:solidFill>
                      <a:prstClr val="black"/>
                    </a:solidFill>
                  </a:rPr>
                  <a:t>Target</a:t>
                </a:r>
                <a:br>
                  <a:rPr lang="de-DE" sz="800" b="1" dirty="0" smtClean="0">
                    <a:solidFill>
                      <a:prstClr val="black"/>
                    </a:solidFill>
                  </a:rPr>
                </a:br>
                <a:r>
                  <a:rPr lang="de-DE" sz="800" b="1" dirty="0" err="1" smtClean="0">
                    <a:solidFill>
                      <a:prstClr val="black"/>
                    </a:solidFill>
                  </a:rPr>
                  <a:t>agreement</a:t>
                </a:r>
                <a:r>
                  <a:rPr lang="de-DE" sz="800" b="1" dirty="0" smtClean="0">
                    <a:solidFill>
                      <a:prstClr val="black"/>
                    </a:solidFill>
                  </a:rPr>
                  <a:t> </a:t>
                </a:r>
                <a:r>
                  <a:rPr lang="de-DE" sz="800" b="1" dirty="0" err="1" smtClean="0">
                    <a:solidFill>
                      <a:prstClr val="black"/>
                    </a:solidFill>
                  </a:rPr>
                  <a:t>for</a:t>
                </a:r>
                <a:r>
                  <a:rPr lang="de-DE" sz="800" b="1" dirty="0" smtClean="0">
                    <a:solidFill>
                      <a:prstClr val="black"/>
                    </a:solidFill>
                  </a:rPr>
                  <a:t> </a:t>
                </a:r>
                <a:r>
                  <a:rPr lang="de-DE" sz="800" b="1" dirty="0" err="1" smtClean="0">
                    <a:solidFill>
                      <a:prstClr val="black"/>
                    </a:solidFill>
                  </a:rPr>
                  <a:t>architecture</a:t>
                </a:r>
                <a:r>
                  <a:rPr lang="de-DE" sz="800" b="1" dirty="0" smtClean="0">
                    <a:solidFill>
                      <a:prstClr val="black"/>
                    </a:solidFill>
                  </a:rPr>
                  <a:t/>
                </a:r>
                <a:br>
                  <a:rPr lang="de-DE" sz="800" b="1" dirty="0" smtClean="0">
                    <a:solidFill>
                      <a:prstClr val="black"/>
                    </a:solidFill>
                  </a:rPr>
                </a:br>
                <a:r>
                  <a:rPr lang="de-DE" sz="800" b="1" dirty="0" smtClean="0">
                    <a:solidFill>
                      <a:prstClr val="black"/>
                    </a:solidFill>
                  </a:rPr>
                  <a:t>+ </a:t>
                </a:r>
                <a:r>
                  <a:rPr lang="de-DE" sz="800" b="1" dirty="0" err="1" smtClean="0">
                    <a:solidFill>
                      <a:prstClr val="black"/>
                    </a:solidFill>
                  </a:rPr>
                  <a:t>confirmation</a:t>
                </a:r>
                <a:r>
                  <a:rPr lang="de-DE" sz="800" b="1" dirty="0" smtClean="0">
                    <a:solidFill>
                      <a:prstClr val="black"/>
                    </a:solidFill>
                  </a:rPr>
                  <a:t> </a:t>
                </a:r>
                <a:r>
                  <a:rPr lang="de-DE" sz="800" b="1" dirty="0" err="1" smtClean="0">
                    <a:solidFill>
                      <a:prstClr val="black"/>
                    </a:solidFill>
                  </a:rPr>
                  <a:t>of</a:t>
                </a:r>
                <a:r>
                  <a:rPr lang="de-DE" sz="800" b="1" dirty="0" smtClean="0">
                    <a:solidFill>
                      <a:prstClr val="black"/>
                    </a:solidFill>
                  </a:rPr>
                  <a:t> </a:t>
                </a:r>
                <a:r>
                  <a:rPr lang="de-DE" sz="800" b="1" dirty="0" err="1" smtClean="0">
                    <a:solidFill>
                      <a:prstClr val="black"/>
                    </a:solidFill>
                  </a:rPr>
                  <a:t>business</a:t>
                </a:r>
                <a:r>
                  <a:rPr lang="de-DE" sz="800" b="1" dirty="0" smtClean="0">
                    <a:solidFill>
                      <a:prstClr val="black"/>
                    </a:solidFill>
                  </a:rPr>
                  <a:t> plan </a:t>
                </a:r>
                <a:r>
                  <a:rPr lang="de-DE" sz="800" b="1" dirty="0" err="1" smtClean="0">
                    <a:solidFill>
                      <a:prstClr val="black"/>
                    </a:solidFill>
                  </a:rPr>
                  <a:t>for</a:t>
                </a:r>
                <a:r>
                  <a:rPr lang="de-DE" sz="800" b="1" dirty="0" smtClean="0">
                    <a:solidFill>
                      <a:prstClr val="black"/>
                    </a:solidFill>
                  </a:rPr>
                  <a:t> derivative</a:t>
                </a:r>
              </a:p>
            </p:txBody>
          </p:sp>
          <p:sp>
            <p:nvSpPr>
              <p:cNvPr id="102" name="Textfeld 101"/>
              <p:cNvSpPr txBox="1"/>
              <p:nvPr/>
            </p:nvSpPr>
            <p:spPr>
              <a:xfrm>
                <a:off x="4041588" y="2003979"/>
                <a:ext cx="1273105" cy="338554"/>
              </a:xfrm>
              <a:prstGeom prst="rect">
                <a:avLst/>
              </a:prstGeom>
              <a:noFill/>
            </p:spPr>
            <p:txBody>
              <a:bodyPr wrap="none" rtlCol="0">
                <a:spAutoFit/>
              </a:bodyPr>
              <a:lstStyle/>
              <a:p>
                <a:r>
                  <a:rPr lang="de-DE" sz="800" b="1" dirty="0" smtClean="0">
                    <a:solidFill>
                      <a:prstClr val="black"/>
                    </a:solidFill>
                  </a:rPr>
                  <a:t>Target </a:t>
                </a:r>
                <a:r>
                  <a:rPr lang="de-DE" sz="800" b="1" dirty="0" err="1" smtClean="0">
                    <a:solidFill>
                      <a:prstClr val="black"/>
                    </a:solidFill>
                  </a:rPr>
                  <a:t>agreement</a:t>
                </a:r>
                <a:r>
                  <a:rPr lang="de-DE" sz="800" b="1" dirty="0" smtClean="0">
                    <a:solidFill>
                      <a:prstClr val="black"/>
                    </a:solidFill>
                  </a:rPr>
                  <a:t> </a:t>
                </a:r>
                <a:r>
                  <a:rPr lang="de-DE" sz="800" b="1" dirty="0" err="1" smtClean="0">
                    <a:solidFill>
                      <a:prstClr val="black"/>
                    </a:solidFill>
                  </a:rPr>
                  <a:t>for</a:t>
                </a:r>
                <a:r>
                  <a:rPr lang="de-DE" sz="800" b="1" dirty="0" smtClean="0">
                    <a:solidFill>
                      <a:prstClr val="black"/>
                    </a:solidFill>
                  </a:rPr>
                  <a:t> </a:t>
                </a:r>
                <a:br>
                  <a:rPr lang="de-DE" sz="800" b="1" dirty="0" smtClean="0">
                    <a:solidFill>
                      <a:prstClr val="black"/>
                    </a:solidFill>
                  </a:rPr>
                </a:br>
                <a:r>
                  <a:rPr lang="de-DE" sz="800" b="1" dirty="0" smtClean="0">
                    <a:solidFill>
                      <a:prstClr val="black"/>
                    </a:solidFill>
                  </a:rPr>
                  <a:t>                                   derivative</a:t>
                </a:r>
                <a:endParaRPr lang="de-DE" sz="800" b="1" dirty="0">
                  <a:solidFill>
                    <a:prstClr val="black"/>
                  </a:solidFill>
                </a:endParaRPr>
              </a:p>
            </p:txBody>
          </p:sp>
          <p:sp>
            <p:nvSpPr>
              <p:cNvPr id="103" name="Textfeld 102"/>
              <p:cNvSpPr txBox="1"/>
              <p:nvPr/>
            </p:nvSpPr>
            <p:spPr>
              <a:xfrm>
                <a:off x="5329365" y="2003979"/>
                <a:ext cx="724878" cy="338554"/>
              </a:xfrm>
              <a:prstGeom prst="rect">
                <a:avLst/>
              </a:prstGeom>
              <a:noFill/>
            </p:spPr>
            <p:txBody>
              <a:bodyPr wrap="none" rtlCol="0">
                <a:spAutoFit/>
              </a:bodyPr>
              <a:lstStyle/>
              <a:p>
                <a:r>
                  <a:rPr lang="de-DE" sz="800" b="1" smtClean="0">
                    <a:solidFill>
                      <a:prstClr val="black"/>
                    </a:solidFill>
                  </a:rPr>
                  <a:t>Concept</a:t>
                </a:r>
                <a:br>
                  <a:rPr lang="de-DE" sz="800" b="1" smtClean="0">
                    <a:solidFill>
                      <a:prstClr val="black"/>
                    </a:solidFill>
                  </a:rPr>
                </a:br>
                <a:r>
                  <a:rPr lang="de-DE" sz="800" b="1" smtClean="0">
                    <a:solidFill>
                      <a:prstClr val="black"/>
                    </a:solidFill>
                  </a:rPr>
                  <a:t>confirmation</a:t>
                </a:r>
                <a:endParaRPr lang="de-DE" sz="800" b="1" dirty="0">
                  <a:solidFill>
                    <a:prstClr val="black"/>
                  </a:solidFill>
                </a:endParaRPr>
              </a:p>
            </p:txBody>
          </p:sp>
          <p:sp>
            <p:nvSpPr>
              <p:cNvPr id="104" name="Textfeld 103"/>
              <p:cNvSpPr txBox="1"/>
              <p:nvPr/>
            </p:nvSpPr>
            <p:spPr>
              <a:xfrm>
                <a:off x="7790029" y="1999214"/>
                <a:ext cx="724878" cy="338554"/>
              </a:xfrm>
              <a:prstGeom prst="rect">
                <a:avLst/>
              </a:prstGeom>
              <a:noFill/>
            </p:spPr>
            <p:txBody>
              <a:bodyPr wrap="none" rtlCol="0">
                <a:spAutoFit/>
              </a:bodyPr>
              <a:lstStyle/>
              <a:p>
                <a:r>
                  <a:rPr lang="de-DE" sz="800" b="1" smtClean="0">
                    <a:solidFill>
                      <a:prstClr val="black"/>
                    </a:solidFill>
                  </a:rPr>
                  <a:t>Ramp-up</a:t>
                </a:r>
                <a:br>
                  <a:rPr lang="de-DE" sz="800" b="1" smtClean="0">
                    <a:solidFill>
                      <a:prstClr val="black"/>
                    </a:solidFill>
                  </a:rPr>
                </a:br>
                <a:r>
                  <a:rPr lang="de-DE" sz="800" b="1" smtClean="0">
                    <a:solidFill>
                      <a:prstClr val="black"/>
                    </a:solidFill>
                  </a:rPr>
                  <a:t>confirmation</a:t>
                </a:r>
                <a:endParaRPr lang="de-DE" sz="800" b="1" dirty="0">
                  <a:solidFill>
                    <a:prstClr val="black"/>
                  </a:solidFill>
                </a:endParaRPr>
              </a:p>
            </p:txBody>
          </p:sp>
          <p:sp>
            <p:nvSpPr>
              <p:cNvPr id="105" name="Textfeld 104"/>
              <p:cNvSpPr txBox="1"/>
              <p:nvPr/>
            </p:nvSpPr>
            <p:spPr>
              <a:xfrm>
                <a:off x="6432524" y="2003979"/>
                <a:ext cx="724878" cy="338554"/>
              </a:xfrm>
              <a:prstGeom prst="rect">
                <a:avLst/>
              </a:prstGeom>
              <a:noFill/>
            </p:spPr>
            <p:txBody>
              <a:bodyPr wrap="none" rtlCol="0">
                <a:spAutoFit/>
              </a:bodyPr>
              <a:lstStyle/>
              <a:p>
                <a:r>
                  <a:rPr lang="de-DE" sz="800" b="1" smtClean="0">
                    <a:solidFill>
                      <a:prstClr val="black"/>
                    </a:solidFill>
                  </a:rPr>
                  <a:t>Product</a:t>
                </a:r>
                <a:br>
                  <a:rPr lang="de-DE" sz="800" b="1" smtClean="0">
                    <a:solidFill>
                      <a:prstClr val="black"/>
                    </a:solidFill>
                  </a:rPr>
                </a:br>
                <a:r>
                  <a:rPr lang="de-DE" sz="800" b="1" smtClean="0">
                    <a:solidFill>
                      <a:prstClr val="black"/>
                    </a:solidFill>
                  </a:rPr>
                  <a:t>confirmation</a:t>
                </a:r>
                <a:endParaRPr lang="de-DE" sz="800" b="1" dirty="0">
                  <a:solidFill>
                    <a:prstClr val="black"/>
                  </a:solidFill>
                </a:endParaRPr>
              </a:p>
            </p:txBody>
          </p:sp>
          <p:sp>
            <p:nvSpPr>
              <p:cNvPr id="106" name="Textfeld 105"/>
              <p:cNvSpPr txBox="1"/>
              <p:nvPr/>
            </p:nvSpPr>
            <p:spPr>
              <a:xfrm>
                <a:off x="3308303" y="1451311"/>
                <a:ext cx="461986" cy="215444"/>
              </a:xfrm>
              <a:prstGeom prst="rect">
                <a:avLst/>
              </a:prstGeom>
              <a:noFill/>
            </p:spPr>
            <p:txBody>
              <a:bodyPr wrap="none" rtlCol="0">
                <a:spAutoFit/>
              </a:bodyPr>
              <a:lstStyle/>
              <a:p>
                <a:r>
                  <a:rPr lang="de-DE" sz="800" b="1" dirty="0" err="1" smtClean="0">
                    <a:solidFill>
                      <a:prstClr val="black"/>
                    </a:solidFill>
                  </a:rPr>
                  <a:t>xxMvS</a:t>
                </a:r>
                <a:endParaRPr lang="de-DE" sz="800" b="1" dirty="0" smtClean="0">
                  <a:solidFill>
                    <a:prstClr val="black"/>
                  </a:solidFill>
                </a:endParaRPr>
              </a:p>
            </p:txBody>
          </p:sp>
          <p:sp>
            <p:nvSpPr>
              <p:cNvPr id="107" name="Textfeld 106"/>
              <p:cNvSpPr txBox="1"/>
              <p:nvPr/>
            </p:nvSpPr>
            <p:spPr>
              <a:xfrm>
                <a:off x="4064368" y="1451311"/>
                <a:ext cx="461986" cy="215444"/>
              </a:xfrm>
              <a:prstGeom prst="rect">
                <a:avLst/>
              </a:prstGeom>
              <a:noFill/>
            </p:spPr>
            <p:txBody>
              <a:bodyPr wrap="none" rtlCol="0">
                <a:spAutoFit/>
              </a:bodyPr>
              <a:lstStyle/>
              <a:p>
                <a:r>
                  <a:rPr lang="de-DE" sz="800" b="1" dirty="0" err="1" smtClean="0">
                    <a:solidFill>
                      <a:prstClr val="black"/>
                    </a:solidFill>
                  </a:rPr>
                  <a:t>xxMvS</a:t>
                </a:r>
                <a:endParaRPr lang="de-DE" sz="800" b="1" dirty="0" smtClean="0">
                  <a:solidFill>
                    <a:prstClr val="black"/>
                  </a:solidFill>
                </a:endParaRPr>
              </a:p>
            </p:txBody>
          </p:sp>
          <p:sp>
            <p:nvSpPr>
              <p:cNvPr id="108" name="Textfeld 107"/>
              <p:cNvSpPr txBox="1"/>
              <p:nvPr/>
            </p:nvSpPr>
            <p:spPr>
              <a:xfrm>
                <a:off x="2153307" y="1451311"/>
                <a:ext cx="461986" cy="215444"/>
              </a:xfrm>
              <a:prstGeom prst="rect">
                <a:avLst/>
              </a:prstGeom>
              <a:noFill/>
            </p:spPr>
            <p:txBody>
              <a:bodyPr wrap="none" rtlCol="0">
                <a:spAutoFit/>
              </a:bodyPr>
              <a:lstStyle/>
              <a:p>
                <a:r>
                  <a:rPr lang="de-DE" sz="800" b="1" dirty="0" err="1" smtClean="0">
                    <a:solidFill>
                      <a:prstClr val="black"/>
                    </a:solidFill>
                  </a:rPr>
                  <a:t>xxMvS</a:t>
                </a:r>
                <a:endParaRPr lang="de-DE" sz="800" b="1" dirty="0" smtClean="0">
                  <a:solidFill>
                    <a:prstClr val="black"/>
                  </a:solidFill>
                </a:endParaRPr>
              </a:p>
            </p:txBody>
          </p:sp>
          <p:sp>
            <p:nvSpPr>
              <p:cNvPr id="109" name="Textfeld 108"/>
              <p:cNvSpPr txBox="1"/>
              <p:nvPr/>
            </p:nvSpPr>
            <p:spPr>
              <a:xfrm>
                <a:off x="868059" y="1451311"/>
                <a:ext cx="461986" cy="215444"/>
              </a:xfrm>
              <a:prstGeom prst="rect">
                <a:avLst/>
              </a:prstGeom>
              <a:noFill/>
            </p:spPr>
            <p:txBody>
              <a:bodyPr wrap="none" rtlCol="0">
                <a:spAutoFit/>
              </a:bodyPr>
              <a:lstStyle/>
              <a:p>
                <a:r>
                  <a:rPr lang="de-DE" sz="800" b="1" dirty="0" err="1" smtClean="0">
                    <a:solidFill>
                      <a:prstClr val="black"/>
                    </a:solidFill>
                  </a:rPr>
                  <a:t>xxMvS</a:t>
                </a:r>
                <a:endParaRPr lang="de-DE" sz="800" b="1" dirty="0" smtClean="0">
                  <a:solidFill>
                    <a:prstClr val="black"/>
                  </a:solidFill>
                </a:endParaRPr>
              </a:p>
            </p:txBody>
          </p:sp>
          <p:sp>
            <p:nvSpPr>
              <p:cNvPr id="110" name="Textfeld 109"/>
              <p:cNvSpPr txBox="1"/>
              <p:nvPr/>
            </p:nvSpPr>
            <p:spPr>
              <a:xfrm>
                <a:off x="2638944" y="1451311"/>
                <a:ext cx="461986" cy="215444"/>
              </a:xfrm>
              <a:prstGeom prst="rect">
                <a:avLst/>
              </a:prstGeom>
              <a:noFill/>
            </p:spPr>
            <p:txBody>
              <a:bodyPr wrap="none" rtlCol="0">
                <a:spAutoFit/>
              </a:bodyPr>
              <a:lstStyle/>
              <a:p>
                <a:r>
                  <a:rPr lang="de-DE" sz="800" b="1" dirty="0" err="1" smtClean="0">
                    <a:solidFill>
                      <a:prstClr val="black"/>
                    </a:solidFill>
                  </a:rPr>
                  <a:t>xxMvS</a:t>
                </a:r>
                <a:endParaRPr lang="de-DE" sz="800" b="1" dirty="0" smtClean="0">
                  <a:solidFill>
                    <a:prstClr val="black"/>
                  </a:solidFill>
                </a:endParaRPr>
              </a:p>
            </p:txBody>
          </p:sp>
          <p:sp>
            <p:nvSpPr>
              <p:cNvPr id="113" name="Raute 112"/>
              <p:cNvSpPr/>
              <p:nvPr/>
            </p:nvSpPr>
            <p:spPr bwMode="auto">
              <a:xfrm>
                <a:off x="985338" y="1684117"/>
                <a:ext cx="296932" cy="264950"/>
              </a:xfrm>
              <a:prstGeom prst="diamond">
                <a:avLst/>
              </a:prstGeom>
              <a:solidFill>
                <a:schemeClr val="tx2">
                  <a:lumMod val="75000"/>
                </a:schemeClr>
              </a:solidFill>
              <a:ln w="19050" cap="flat" cmpd="sng" algn="ctr">
                <a:solidFill>
                  <a:schemeClr val="bg2"/>
                </a:solid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114" name="Textfeld 113"/>
              <p:cNvSpPr txBox="1"/>
              <p:nvPr/>
            </p:nvSpPr>
            <p:spPr>
              <a:xfrm>
                <a:off x="488940" y="1619960"/>
                <a:ext cx="614272" cy="415498"/>
              </a:xfrm>
              <a:prstGeom prst="rect">
                <a:avLst/>
              </a:prstGeom>
              <a:noFill/>
            </p:spPr>
            <p:txBody>
              <a:bodyPr wrap="none" rtlCol="0">
                <a:spAutoFit/>
              </a:bodyPr>
              <a:lstStyle/>
              <a:p>
                <a:pPr algn="ctr"/>
                <a:r>
                  <a:rPr lang="de-DE" sz="700" b="1" smtClean="0">
                    <a:solidFill>
                      <a:prstClr val="black"/>
                    </a:solidFill>
                  </a:rPr>
                  <a:t>Strategy </a:t>
                </a:r>
                <a:br>
                  <a:rPr lang="de-DE" sz="700" b="1" smtClean="0">
                    <a:solidFill>
                      <a:prstClr val="black"/>
                    </a:solidFill>
                  </a:rPr>
                </a:br>
                <a:r>
                  <a:rPr lang="de-DE" sz="700" b="1" smtClean="0">
                    <a:solidFill>
                      <a:prstClr val="black"/>
                    </a:solidFill>
                  </a:rPr>
                  <a:t>develop-</a:t>
                </a:r>
                <a:br>
                  <a:rPr lang="de-DE" sz="700" b="1" smtClean="0">
                    <a:solidFill>
                      <a:prstClr val="black"/>
                    </a:solidFill>
                  </a:rPr>
                </a:br>
                <a:r>
                  <a:rPr lang="de-DE" sz="700" b="1" smtClean="0">
                    <a:solidFill>
                      <a:prstClr val="black"/>
                    </a:solidFill>
                  </a:rPr>
                  <a:t>ment phase</a:t>
                </a:r>
                <a:endParaRPr lang="de-DE" sz="700" b="1" dirty="0" smtClean="0">
                  <a:solidFill>
                    <a:prstClr val="black"/>
                  </a:solidFill>
                </a:endParaRPr>
              </a:p>
            </p:txBody>
          </p:sp>
          <p:sp>
            <p:nvSpPr>
              <p:cNvPr id="124" name="Textfeld 123"/>
              <p:cNvSpPr txBox="1"/>
              <p:nvPr/>
            </p:nvSpPr>
            <p:spPr>
              <a:xfrm>
                <a:off x="1576291" y="1673821"/>
                <a:ext cx="407484" cy="307777"/>
              </a:xfrm>
              <a:prstGeom prst="rect">
                <a:avLst/>
              </a:prstGeom>
              <a:noFill/>
            </p:spPr>
            <p:txBody>
              <a:bodyPr wrap="none" rtlCol="0">
                <a:spAutoFit/>
              </a:bodyPr>
              <a:lstStyle/>
              <a:p>
                <a:pPr algn="ctr"/>
                <a:r>
                  <a:rPr lang="de-DE" sz="700" b="1" smtClean="0">
                    <a:solidFill>
                      <a:prstClr val="black"/>
                    </a:solidFill>
                  </a:rPr>
                  <a:t>Initial</a:t>
                </a:r>
                <a:endParaRPr lang="de-DE" sz="700" b="1" dirty="0" smtClean="0">
                  <a:solidFill>
                    <a:prstClr val="black"/>
                  </a:solidFill>
                </a:endParaRPr>
              </a:p>
              <a:p>
                <a:pPr algn="ctr"/>
                <a:r>
                  <a:rPr lang="de-DE" sz="700" b="1" dirty="0" smtClean="0">
                    <a:solidFill>
                      <a:prstClr val="black"/>
                    </a:solidFill>
                  </a:rPr>
                  <a:t>phase</a:t>
                </a:r>
              </a:p>
            </p:txBody>
          </p:sp>
          <p:sp>
            <p:nvSpPr>
              <p:cNvPr id="125" name="Textfeld 124"/>
              <p:cNvSpPr txBox="1"/>
              <p:nvPr/>
            </p:nvSpPr>
            <p:spPr>
              <a:xfrm>
                <a:off x="3685342" y="1619960"/>
                <a:ext cx="495649" cy="415498"/>
              </a:xfrm>
              <a:prstGeom prst="rect">
                <a:avLst/>
              </a:prstGeom>
              <a:noFill/>
            </p:spPr>
            <p:txBody>
              <a:bodyPr wrap="none" rtlCol="0">
                <a:spAutoFit/>
              </a:bodyPr>
              <a:lstStyle/>
              <a:p>
                <a:pPr algn="ctr"/>
                <a:r>
                  <a:rPr lang="de-DE" sz="700" b="1" smtClean="0">
                    <a:solidFill>
                      <a:prstClr val="black"/>
                    </a:solidFill>
                  </a:rPr>
                  <a:t>Product</a:t>
                </a:r>
                <a:br>
                  <a:rPr lang="de-DE" sz="700" b="1" smtClean="0">
                    <a:solidFill>
                      <a:prstClr val="black"/>
                    </a:solidFill>
                  </a:rPr>
                </a:br>
                <a:r>
                  <a:rPr lang="de-DE" sz="700" b="1" smtClean="0">
                    <a:solidFill>
                      <a:prstClr val="black"/>
                    </a:solidFill>
                  </a:rPr>
                  <a:t>concept</a:t>
                </a:r>
                <a:endParaRPr lang="de-DE" sz="700" b="1" dirty="0" smtClean="0">
                  <a:solidFill>
                    <a:prstClr val="black"/>
                  </a:solidFill>
                </a:endParaRPr>
              </a:p>
              <a:p>
                <a:pPr algn="ctr"/>
                <a:r>
                  <a:rPr lang="de-DE" sz="700" b="1" dirty="0" smtClean="0">
                    <a:solidFill>
                      <a:prstClr val="black"/>
                    </a:solidFill>
                  </a:rPr>
                  <a:t>phase</a:t>
                </a:r>
              </a:p>
            </p:txBody>
          </p:sp>
          <p:sp>
            <p:nvSpPr>
              <p:cNvPr id="126" name="Textfeld 125"/>
              <p:cNvSpPr txBox="1"/>
              <p:nvPr/>
            </p:nvSpPr>
            <p:spPr>
              <a:xfrm>
                <a:off x="5863836" y="1619960"/>
                <a:ext cx="665567" cy="415498"/>
              </a:xfrm>
              <a:prstGeom prst="rect">
                <a:avLst/>
              </a:prstGeom>
              <a:noFill/>
            </p:spPr>
            <p:txBody>
              <a:bodyPr wrap="none" rtlCol="0">
                <a:spAutoFit/>
              </a:bodyPr>
              <a:lstStyle/>
              <a:p>
                <a:pPr algn="ctr"/>
                <a:r>
                  <a:rPr lang="de-DE" sz="700" b="1" smtClean="0">
                    <a:solidFill>
                      <a:prstClr val="black"/>
                    </a:solidFill>
                  </a:rPr>
                  <a:t>Series </a:t>
                </a:r>
                <a:br>
                  <a:rPr lang="de-DE" sz="700" b="1" smtClean="0">
                    <a:solidFill>
                      <a:prstClr val="black"/>
                    </a:solidFill>
                  </a:rPr>
                </a:br>
                <a:r>
                  <a:rPr lang="de-DE" sz="700" b="1" smtClean="0">
                    <a:solidFill>
                      <a:prstClr val="black"/>
                    </a:solidFill>
                  </a:rPr>
                  <a:t>development</a:t>
                </a:r>
                <a:endParaRPr lang="de-DE" sz="700" b="1" dirty="0" smtClean="0">
                  <a:solidFill>
                    <a:prstClr val="black"/>
                  </a:solidFill>
                </a:endParaRPr>
              </a:p>
              <a:p>
                <a:pPr algn="ctr"/>
                <a:r>
                  <a:rPr lang="de-DE" sz="700" b="1" dirty="0" smtClean="0">
                    <a:solidFill>
                      <a:prstClr val="black"/>
                    </a:solidFill>
                  </a:rPr>
                  <a:t>phase</a:t>
                </a:r>
              </a:p>
            </p:txBody>
          </p:sp>
          <p:sp>
            <p:nvSpPr>
              <p:cNvPr id="129" name="Richtungspfeil 128"/>
              <p:cNvSpPr/>
              <p:nvPr/>
            </p:nvSpPr>
            <p:spPr>
              <a:xfrm>
                <a:off x="2886130" y="1651710"/>
                <a:ext cx="706841" cy="360000"/>
              </a:xfrm>
              <a:prstGeom prst="homePlate">
                <a:avLst>
                  <a:gd name="adj" fmla="val 29326"/>
                </a:avLst>
              </a:prstGeom>
              <a:solidFill>
                <a:srgbClr val="FFC000">
                  <a:alpha val="50000"/>
                </a:srgbClr>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130" name="Raute 129"/>
              <p:cNvSpPr/>
              <p:nvPr/>
            </p:nvSpPr>
            <p:spPr bwMode="auto">
              <a:xfrm>
                <a:off x="3368626" y="1684117"/>
                <a:ext cx="296932" cy="264950"/>
              </a:xfrm>
              <a:prstGeom prst="diamond">
                <a:avLst/>
              </a:prstGeom>
              <a:solidFill>
                <a:schemeClr val="tx2">
                  <a:lumMod val="75000"/>
                </a:schemeClr>
              </a:solidFill>
              <a:ln w="19050" cap="flat" cmpd="sng" algn="ctr">
                <a:solidFill>
                  <a:schemeClr val="bg2"/>
                </a:solid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131" name="Raute 130"/>
              <p:cNvSpPr/>
              <p:nvPr/>
            </p:nvSpPr>
            <p:spPr bwMode="auto">
              <a:xfrm>
                <a:off x="2729472" y="1684117"/>
                <a:ext cx="296932" cy="264950"/>
              </a:xfrm>
              <a:prstGeom prst="diamond">
                <a:avLst/>
              </a:prstGeom>
              <a:solidFill>
                <a:schemeClr val="tx2">
                  <a:lumMod val="75000"/>
                </a:schemeClr>
              </a:solidFill>
              <a:ln w="19050" cap="flat" cmpd="sng" algn="ctr">
                <a:solidFill>
                  <a:schemeClr val="bg2"/>
                </a:solid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132" name="Textfeld 131"/>
              <p:cNvSpPr txBox="1"/>
              <p:nvPr/>
            </p:nvSpPr>
            <p:spPr>
              <a:xfrm>
                <a:off x="2215287" y="1635721"/>
                <a:ext cx="978214" cy="415498"/>
              </a:xfrm>
              <a:prstGeom prst="rect">
                <a:avLst/>
              </a:prstGeom>
              <a:noFill/>
            </p:spPr>
            <p:txBody>
              <a:bodyPr wrap="square" rtlCol="0">
                <a:spAutoFit/>
              </a:bodyPr>
              <a:lstStyle/>
              <a:p>
                <a:pPr algn="ctr"/>
                <a:r>
                  <a:rPr lang="de-DE" sz="700" b="1" smtClean="0">
                    <a:solidFill>
                      <a:prstClr val="black"/>
                    </a:solidFill>
                  </a:rPr>
                  <a:t>Concptual </a:t>
                </a:r>
                <a:br>
                  <a:rPr lang="de-DE" sz="700" b="1" smtClean="0">
                    <a:solidFill>
                      <a:prstClr val="black"/>
                    </a:solidFill>
                  </a:rPr>
                </a:br>
                <a:r>
                  <a:rPr lang="de-DE" sz="700" b="1" smtClean="0">
                    <a:solidFill>
                      <a:prstClr val="black"/>
                    </a:solidFill>
                  </a:rPr>
                  <a:t>phase </a:t>
                </a:r>
                <a:br>
                  <a:rPr lang="de-DE" sz="700" b="1" smtClean="0">
                    <a:solidFill>
                      <a:prstClr val="black"/>
                    </a:solidFill>
                  </a:rPr>
                </a:br>
                <a:r>
                  <a:rPr lang="de-DE" sz="700" b="1" smtClean="0">
                    <a:solidFill>
                      <a:prstClr val="black"/>
                    </a:solidFill>
                  </a:rPr>
                  <a:t>architecture</a:t>
                </a:r>
                <a:endParaRPr lang="de-DE" sz="700" b="1" dirty="0" smtClean="0">
                  <a:solidFill>
                    <a:prstClr val="black"/>
                  </a:solidFill>
                </a:endParaRPr>
              </a:p>
            </p:txBody>
          </p:sp>
          <p:sp>
            <p:nvSpPr>
              <p:cNvPr id="133" name="Textfeld 132"/>
              <p:cNvSpPr txBox="1"/>
              <p:nvPr/>
            </p:nvSpPr>
            <p:spPr>
              <a:xfrm>
                <a:off x="141412" y="1454424"/>
                <a:ext cx="461986" cy="215444"/>
              </a:xfrm>
              <a:prstGeom prst="rect">
                <a:avLst/>
              </a:prstGeom>
              <a:noFill/>
            </p:spPr>
            <p:txBody>
              <a:bodyPr wrap="none" rtlCol="0">
                <a:spAutoFit/>
              </a:bodyPr>
              <a:lstStyle/>
              <a:p>
                <a:r>
                  <a:rPr lang="de-DE" sz="800" b="1" dirty="0" err="1" smtClean="0">
                    <a:solidFill>
                      <a:prstClr val="black"/>
                    </a:solidFill>
                  </a:rPr>
                  <a:t>xxMvS</a:t>
                </a:r>
                <a:endParaRPr lang="de-DE" sz="800" b="1" dirty="0" smtClean="0">
                  <a:solidFill>
                    <a:prstClr val="black"/>
                  </a:solidFill>
                </a:endParaRPr>
              </a:p>
            </p:txBody>
          </p:sp>
        </p:grpSp>
        <p:sp>
          <p:nvSpPr>
            <p:cNvPr id="216" name="Textfeld 215"/>
            <p:cNvSpPr txBox="1"/>
            <p:nvPr/>
          </p:nvSpPr>
          <p:spPr>
            <a:xfrm>
              <a:off x="129957" y="2003979"/>
              <a:ext cx="734496" cy="461665"/>
            </a:xfrm>
            <a:prstGeom prst="rect">
              <a:avLst/>
            </a:prstGeom>
            <a:noFill/>
          </p:spPr>
          <p:txBody>
            <a:bodyPr wrap="none" rtlCol="0">
              <a:spAutoFit/>
            </a:bodyPr>
            <a:lstStyle/>
            <a:p>
              <a:r>
                <a:rPr lang="de-DE" sz="800" b="1" smtClean="0">
                  <a:solidFill>
                    <a:prstClr val="black"/>
                  </a:solidFill>
                </a:rPr>
                <a:t>Order for </a:t>
              </a:r>
              <a:br>
                <a:rPr lang="de-DE" sz="800" b="1" smtClean="0">
                  <a:solidFill>
                    <a:prstClr val="black"/>
                  </a:solidFill>
                </a:rPr>
              </a:br>
              <a:r>
                <a:rPr lang="de-DE" sz="800" b="1" smtClean="0">
                  <a:solidFill>
                    <a:prstClr val="black"/>
                  </a:solidFill>
                </a:rPr>
                <a:t>strategic </a:t>
              </a:r>
              <a:br>
                <a:rPr lang="de-DE" sz="800" b="1" smtClean="0">
                  <a:solidFill>
                    <a:prstClr val="black"/>
                  </a:solidFill>
                </a:rPr>
              </a:br>
              <a:r>
                <a:rPr lang="de-DE" sz="800" b="1" smtClean="0">
                  <a:solidFill>
                    <a:prstClr val="black"/>
                  </a:solidFill>
                </a:rPr>
                <a:t>development</a:t>
              </a:r>
              <a:endParaRPr lang="de-DE" sz="800" b="1" dirty="0" smtClean="0">
                <a:solidFill>
                  <a:prstClr val="black"/>
                </a:solidFill>
              </a:endParaRPr>
            </a:p>
          </p:txBody>
        </p:sp>
      </p:grpSp>
      <p:grpSp>
        <p:nvGrpSpPr>
          <p:cNvPr id="10" name="Gruppieren 4"/>
          <p:cNvGrpSpPr/>
          <p:nvPr/>
        </p:nvGrpSpPr>
        <p:grpSpPr>
          <a:xfrm>
            <a:off x="6874730" y="6115725"/>
            <a:ext cx="1749997" cy="484660"/>
            <a:chOff x="6874730" y="6115725"/>
            <a:chExt cx="1749997" cy="484660"/>
          </a:xfrm>
        </p:grpSpPr>
        <p:sp>
          <p:nvSpPr>
            <p:cNvPr id="198" name="Rechteck 197"/>
            <p:cNvSpPr/>
            <p:nvPr/>
          </p:nvSpPr>
          <p:spPr>
            <a:xfrm>
              <a:off x="6876256" y="6237314"/>
              <a:ext cx="1748471" cy="363071"/>
            </a:xfrm>
            <a:prstGeom prst="rect">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000" dirty="0" smtClean="0">
                  <a:solidFill>
                    <a:prstClr val="white"/>
                  </a:solidFill>
                </a:rPr>
                <a:t>RS 500</a:t>
              </a:r>
              <a:endParaRPr lang="de-DE" sz="1000" dirty="0">
                <a:solidFill>
                  <a:prstClr val="white"/>
                </a:solidFill>
              </a:endParaRPr>
            </a:p>
          </p:txBody>
        </p:sp>
        <p:grpSp>
          <p:nvGrpSpPr>
            <p:cNvPr id="11" name="Gruppieren 305"/>
            <p:cNvGrpSpPr/>
            <p:nvPr/>
          </p:nvGrpSpPr>
          <p:grpSpPr>
            <a:xfrm>
              <a:off x="6874730" y="6115725"/>
              <a:ext cx="1720193" cy="145388"/>
              <a:chOff x="6772791" y="6115725"/>
              <a:chExt cx="1720193" cy="145388"/>
            </a:xfrm>
          </p:grpSpPr>
          <p:sp>
            <p:nvSpPr>
              <p:cNvPr id="266" name="Abgerundetes Rechteck 265"/>
              <p:cNvSpPr/>
              <p:nvPr/>
            </p:nvSpPr>
            <p:spPr bwMode="auto">
              <a:xfrm flipH="1">
                <a:off x="6854699" y="6115725"/>
                <a:ext cx="1569757" cy="145388"/>
              </a:xfrm>
              <a:prstGeom prst="roundRect">
                <a:avLst>
                  <a:gd name="adj" fmla="val 0"/>
                </a:avLst>
              </a:prstGeom>
              <a:solidFill>
                <a:srgbClr val="405A7F"/>
              </a:solidFill>
              <a:ln w="19050" cap="flat" cmpd="sng" algn="ctr">
                <a:solidFill>
                  <a:srgbClr val="405A7F"/>
                </a:solidFill>
                <a:prstDash val="solid"/>
                <a:round/>
                <a:headEnd type="none" w="med" len="med"/>
                <a:tailEnd type="none" w="med" len="med"/>
              </a:ln>
              <a:effectLst/>
            </p:spPr>
            <p:txBody>
              <a:bodyPr lIns="36000" tIns="36000" rIns="36000" bIns="36000" anchor="ctr"/>
              <a:lstStyle/>
              <a:p>
                <a:pPr algn="ctr">
                  <a:defRPr/>
                </a:pPr>
                <a:endParaRPr lang="de-DE" sz="1000" b="1" dirty="0" smtClean="0">
                  <a:solidFill>
                    <a:srgbClr val="FFFFFF"/>
                  </a:solidFill>
                </a:endParaRPr>
              </a:p>
            </p:txBody>
          </p:sp>
          <p:sp>
            <p:nvSpPr>
              <p:cNvPr id="185" name="Raute 184"/>
              <p:cNvSpPr/>
              <p:nvPr/>
            </p:nvSpPr>
            <p:spPr bwMode="auto">
              <a:xfrm>
                <a:off x="6772791" y="6115725"/>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186" name="Raute 185"/>
              <p:cNvSpPr/>
              <p:nvPr/>
            </p:nvSpPr>
            <p:spPr bwMode="auto">
              <a:xfrm>
                <a:off x="8348984" y="6115725"/>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grpSp>
      </p:grpSp>
      <p:grpSp>
        <p:nvGrpSpPr>
          <p:cNvPr id="12" name="Gruppieren 270"/>
          <p:cNvGrpSpPr/>
          <p:nvPr/>
        </p:nvGrpSpPr>
        <p:grpSpPr>
          <a:xfrm>
            <a:off x="3476369" y="5228556"/>
            <a:ext cx="1152128" cy="756728"/>
            <a:chOff x="3258422" y="5231813"/>
            <a:chExt cx="1152128" cy="756728"/>
          </a:xfrm>
        </p:grpSpPr>
        <p:sp>
          <p:nvSpPr>
            <p:cNvPr id="261" name="Abgerundetes Rechteck 260"/>
            <p:cNvSpPr/>
            <p:nvPr/>
          </p:nvSpPr>
          <p:spPr bwMode="auto">
            <a:xfrm flipH="1">
              <a:off x="3336117" y="5231813"/>
              <a:ext cx="996044" cy="144000"/>
            </a:xfrm>
            <a:prstGeom prst="roundRect">
              <a:avLst>
                <a:gd name="adj" fmla="val 0"/>
              </a:avLst>
            </a:prstGeom>
            <a:solidFill>
              <a:srgbClr val="405A7F"/>
            </a:solidFill>
            <a:ln w="19050" cap="flat" cmpd="sng" algn="ctr">
              <a:solidFill>
                <a:srgbClr val="405A7F"/>
              </a:solidFill>
              <a:prstDash val="solid"/>
              <a:round/>
              <a:headEnd type="none" w="med" len="med"/>
              <a:tailEnd type="none" w="med" len="med"/>
            </a:ln>
            <a:effectLst/>
          </p:spPr>
          <p:txBody>
            <a:bodyPr lIns="36000" tIns="36000" rIns="36000" bIns="36000" anchor="ctr"/>
            <a:lstStyle/>
            <a:p>
              <a:pPr algn="ctr">
                <a:defRPr/>
              </a:pPr>
              <a:endParaRPr lang="de-DE" sz="1000" b="1" dirty="0" smtClean="0">
                <a:solidFill>
                  <a:srgbClr val="FFFFFF"/>
                </a:solidFill>
              </a:endParaRPr>
            </a:p>
          </p:txBody>
        </p:sp>
        <p:grpSp>
          <p:nvGrpSpPr>
            <p:cNvPr id="13" name="Gruppieren 288"/>
            <p:cNvGrpSpPr/>
            <p:nvPr/>
          </p:nvGrpSpPr>
          <p:grpSpPr>
            <a:xfrm>
              <a:off x="3258422" y="5231813"/>
              <a:ext cx="1152128" cy="756728"/>
              <a:chOff x="3258421" y="5231813"/>
              <a:chExt cx="1152128" cy="756728"/>
            </a:xfrm>
          </p:grpSpPr>
          <p:sp>
            <p:nvSpPr>
              <p:cNvPr id="175" name="Raute 174"/>
              <p:cNvSpPr/>
              <p:nvPr/>
            </p:nvSpPr>
            <p:spPr bwMode="auto">
              <a:xfrm>
                <a:off x="3258421" y="5231813"/>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176" name="Raute 175"/>
              <p:cNvSpPr/>
              <p:nvPr/>
            </p:nvSpPr>
            <p:spPr bwMode="auto">
              <a:xfrm>
                <a:off x="4266549" y="5231813"/>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191" name="Rechteck 190"/>
              <p:cNvSpPr/>
              <p:nvPr/>
            </p:nvSpPr>
            <p:spPr>
              <a:xfrm>
                <a:off x="3491880" y="5337212"/>
                <a:ext cx="653425" cy="651329"/>
              </a:xfrm>
              <a:prstGeom prst="rect">
                <a:avLst/>
              </a:prstGeom>
              <a:noFill/>
              <a:ln>
                <a:no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000" dirty="0" smtClean="0">
                    <a:solidFill>
                      <a:prstClr val="white"/>
                    </a:solidFill>
                  </a:rPr>
                  <a:t>RS 200</a:t>
                </a:r>
                <a:endParaRPr lang="de-DE" sz="1000" dirty="0">
                  <a:solidFill>
                    <a:prstClr val="white"/>
                  </a:solidFill>
                </a:endParaRPr>
              </a:p>
            </p:txBody>
          </p:sp>
        </p:grpSp>
      </p:grpSp>
      <p:grpSp>
        <p:nvGrpSpPr>
          <p:cNvPr id="14" name="Gruppieren 235"/>
          <p:cNvGrpSpPr/>
          <p:nvPr/>
        </p:nvGrpSpPr>
        <p:grpSpPr>
          <a:xfrm>
            <a:off x="3230861" y="5568036"/>
            <a:ext cx="2262232" cy="160103"/>
            <a:chOff x="3021381" y="5551100"/>
            <a:chExt cx="2262232" cy="160103"/>
          </a:xfrm>
        </p:grpSpPr>
        <p:sp>
          <p:nvSpPr>
            <p:cNvPr id="227" name="Rechteck 226"/>
            <p:cNvSpPr/>
            <p:nvPr/>
          </p:nvSpPr>
          <p:spPr>
            <a:xfrm>
              <a:off x="3101976" y="5551100"/>
              <a:ext cx="2181637" cy="160103"/>
            </a:xfrm>
            <a:prstGeom prst="rect">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r>
                <a:rPr lang="de-DE" sz="1000" dirty="0" err="1" smtClean="0">
                  <a:solidFill>
                    <a:prstClr val="white"/>
                  </a:solidFill>
                </a:rPr>
                <a:t>Maturity</a:t>
              </a:r>
              <a:r>
                <a:rPr lang="de-DE" sz="1000" dirty="0" smtClean="0">
                  <a:solidFill>
                    <a:prstClr val="white"/>
                  </a:solidFill>
                </a:rPr>
                <a:t> </a:t>
              </a:r>
              <a:r>
                <a:rPr lang="de-DE" sz="1000" dirty="0" err="1" smtClean="0">
                  <a:solidFill>
                    <a:prstClr val="white"/>
                  </a:solidFill>
                </a:rPr>
                <a:t>step</a:t>
              </a:r>
              <a:r>
                <a:rPr lang="de-DE" sz="1000" dirty="0" smtClean="0">
                  <a:solidFill>
                    <a:prstClr val="white"/>
                  </a:solidFill>
                </a:rPr>
                <a:t> </a:t>
              </a:r>
              <a:r>
                <a:rPr lang="de-DE" sz="1000" dirty="0" err="1" smtClean="0">
                  <a:solidFill>
                    <a:prstClr val="white"/>
                  </a:solidFill>
                </a:rPr>
                <a:t>planning</a:t>
              </a:r>
              <a:endParaRPr lang="de-DE" sz="1000" dirty="0">
                <a:solidFill>
                  <a:prstClr val="white"/>
                </a:solidFill>
              </a:endParaRPr>
            </a:p>
          </p:txBody>
        </p:sp>
        <p:sp>
          <p:nvSpPr>
            <p:cNvPr id="228" name="Raute 227"/>
            <p:cNvSpPr/>
            <p:nvPr/>
          </p:nvSpPr>
          <p:spPr bwMode="auto">
            <a:xfrm>
              <a:off x="3021381" y="5559151"/>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grpSp>
      <p:grpSp>
        <p:nvGrpSpPr>
          <p:cNvPr id="15" name="Gruppieren 239"/>
          <p:cNvGrpSpPr/>
          <p:nvPr/>
        </p:nvGrpSpPr>
        <p:grpSpPr>
          <a:xfrm>
            <a:off x="3325413" y="5744427"/>
            <a:ext cx="2256623" cy="222636"/>
            <a:chOff x="3020238" y="5744427"/>
            <a:chExt cx="2256623" cy="222636"/>
          </a:xfrm>
        </p:grpSpPr>
        <p:sp>
          <p:nvSpPr>
            <p:cNvPr id="229" name="Rechteck 228"/>
            <p:cNvSpPr/>
            <p:nvPr/>
          </p:nvSpPr>
          <p:spPr>
            <a:xfrm>
              <a:off x="3095224" y="5744427"/>
              <a:ext cx="2181637" cy="222636"/>
            </a:xfrm>
            <a:prstGeom prst="rect">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r>
                <a:rPr lang="de-DE" sz="1000" smtClean="0">
                  <a:solidFill>
                    <a:prstClr val="white"/>
                  </a:solidFill>
                </a:rPr>
                <a:t>Maturity level-target-planning</a:t>
              </a:r>
            </a:p>
            <a:p>
              <a:endParaRPr lang="de-DE" sz="1000" dirty="0">
                <a:solidFill>
                  <a:prstClr val="white"/>
                </a:solidFill>
              </a:endParaRPr>
            </a:p>
          </p:txBody>
        </p:sp>
        <p:sp>
          <p:nvSpPr>
            <p:cNvPr id="230" name="Raute 229"/>
            <p:cNvSpPr/>
            <p:nvPr/>
          </p:nvSpPr>
          <p:spPr bwMode="auto">
            <a:xfrm>
              <a:off x="3020238" y="5748004"/>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grpSp>
      <p:grpSp>
        <p:nvGrpSpPr>
          <p:cNvPr id="16" name="Gruppieren 240"/>
          <p:cNvGrpSpPr/>
          <p:nvPr/>
        </p:nvGrpSpPr>
        <p:grpSpPr>
          <a:xfrm>
            <a:off x="473428" y="4339705"/>
            <a:ext cx="2262232" cy="160103"/>
            <a:chOff x="3021381" y="5551100"/>
            <a:chExt cx="2262232" cy="160103"/>
          </a:xfrm>
        </p:grpSpPr>
        <p:sp>
          <p:nvSpPr>
            <p:cNvPr id="243" name="Rechteck 242"/>
            <p:cNvSpPr/>
            <p:nvPr/>
          </p:nvSpPr>
          <p:spPr>
            <a:xfrm>
              <a:off x="3101976" y="5551100"/>
              <a:ext cx="2181637" cy="160103"/>
            </a:xfrm>
            <a:prstGeom prst="rect">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r>
                <a:rPr lang="de-DE" sz="1000" dirty="0" err="1" smtClean="0">
                  <a:solidFill>
                    <a:prstClr val="white"/>
                  </a:solidFill>
                </a:rPr>
                <a:t>Maturity</a:t>
              </a:r>
              <a:r>
                <a:rPr lang="de-DE" sz="1000" dirty="0" smtClean="0">
                  <a:solidFill>
                    <a:prstClr val="white"/>
                  </a:solidFill>
                </a:rPr>
                <a:t> </a:t>
              </a:r>
              <a:r>
                <a:rPr lang="de-DE" sz="1000" dirty="0" err="1" smtClean="0">
                  <a:solidFill>
                    <a:prstClr val="white"/>
                  </a:solidFill>
                </a:rPr>
                <a:t>step</a:t>
              </a:r>
              <a:r>
                <a:rPr lang="de-DE" sz="1000" dirty="0" smtClean="0">
                  <a:solidFill>
                    <a:prstClr val="white"/>
                  </a:solidFill>
                </a:rPr>
                <a:t> </a:t>
              </a:r>
              <a:r>
                <a:rPr lang="de-DE" sz="1000" dirty="0" err="1" smtClean="0">
                  <a:solidFill>
                    <a:prstClr val="white"/>
                  </a:solidFill>
                </a:rPr>
                <a:t>planning</a:t>
              </a:r>
              <a:endParaRPr lang="de-DE" sz="1000" dirty="0">
                <a:solidFill>
                  <a:prstClr val="white"/>
                </a:solidFill>
              </a:endParaRPr>
            </a:p>
          </p:txBody>
        </p:sp>
        <p:sp>
          <p:nvSpPr>
            <p:cNvPr id="244" name="Raute 243"/>
            <p:cNvSpPr/>
            <p:nvPr/>
          </p:nvSpPr>
          <p:spPr bwMode="auto">
            <a:xfrm>
              <a:off x="3021381" y="5559151"/>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grpSp>
      <p:grpSp>
        <p:nvGrpSpPr>
          <p:cNvPr id="17" name="Gruppieren 254"/>
          <p:cNvGrpSpPr/>
          <p:nvPr/>
        </p:nvGrpSpPr>
        <p:grpSpPr>
          <a:xfrm>
            <a:off x="567980" y="4506571"/>
            <a:ext cx="2256623" cy="222636"/>
            <a:chOff x="3020238" y="5734902"/>
            <a:chExt cx="2256623" cy="222636"/>
          </a:xfrm>
        </p:grpSpPr>
        <p:sp>
          <p:nvSpPr>
            <p:cNvPr id="256" name="Rechteck 255"/>
            <p:cNvSpPr/>
            <p:nvPr/>
          </p:nvSpPr>
          <p:spPr>
            <a:xfrm>
              <a:off x="3095224" y="5734902"/>
              <a:ext cx="2181637" cy="222636"/>
            </a:xfrm>
            <a:prstGeom prst="rect">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r>
                <a:rPr lang="de-DE" sz="1000" smtClean="0">
                  <a:solidFill>
                    <a:prstClr val="white"/>
                  </a:solidFill>
                </a:rPr>
                <a:t>Maturity level-target-planning</a:t>
              </a:r>
              <a:endParaRPr lang="de-DE" sz="1000" dirty="0">
                <a:solidFill>
                  <a:prstClr val="white"/>
                </a:solidFill>
              </a:endParaRPr>
            </a:p>
          </p:txBody>
        </p:sp>
        <p:sp>
          <p:nvSpPr>
            <p:cNvPr id="267" name="Raute 266"/>
            <p:cNvSpPr/>
            <p:nvPr/>
          </p:nvSpPr>
          <p:spPr bwMode="auto">
            <a:xfrm>
              <a:off x="3020238" y="5748004"/>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grpSp>
      <p:sp>
        <p:nvSpPr>
          <p:cNvPr id="204" name="Rechteck 203"/>
          <p:cNvSpPr/>
          <p:nvPr/>
        </p:nvSpPr>
        <p:spPr>
          <a:xfrm>
            <a:off x="2851994" y="3356992"/>
            <a:ext cx="2241225" cy="3241502"/>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sp>
        <p:nvSpPr>
          <p:cNvPr id="220" name="Rechteck 219"/>
          <p:cNvSpPr/>
          <p:nvPr/>
        </p:nvSpPr>
        <p:spPr>
          <a:xfrm>
            <a:off x="5142372" y="3067050"/>
            <a:ext cx="1364485" cy="3534795"/>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prstClr val="white"/>
              </a:solidFill>
            </a:endParaRPr>
          </a:p>
        </p:txBody>
      </p:sp>
      <p:grpSp>
        <p:nvGrpSpPr>
          <p:cNvPr id="18" name="Gruppieren 304"/>
          <p:cNvGrpSpPr/>
          <p:nvPr/>
        </p:nvGrpSpPr>
        <p:grpSpPr>
          <a:xfrm>
            <a:off x="5073631" y="6117112"/>
            <a:ext cx="1507901" cy="804294"/>
            <a:chOff x="4846111" y="6117110"/>
            <a:chExt cx="1507901" cy="804294"/>
          </a:xfrm>
        </p:grpSpPr>
        <p:sp>
          <p:nvSpPr>
            <p:cNvPr id="278" name="Abgerundetes Rechteck 277"/>
            <p:cNvSpPr/>
            <p:nvPr/>
          </p:nvSpPr>
          <p:spPr bwMode="auto">
            <a:xfrm flipH="1">
              <a:off x="4932037" y="6117110"/>
              <a:ext cx="1354811" cy="144000"/>
            </a:xfrm>
            <a:prstGeom prst="roundRect">
              <a:avLst>
                <a:gd name="adj" fmla="val 0"/>
              </a:avLst>
            </a:prstGeom>
            <a:solidFill>
              <a:srgbClr val="405A7F"/>
            </a:solidFill>
            <a:ln w="19050" cap="flat" cmpd="sng" algn="ctr">
              <a:solidFill>
                <a:srgbClr val="405A7F"/>
              </a:solidFill>
              <a:prstDash val="solid"/>
              <a:round/>
              <a:headEnd type="none" w="med" len="med"/>
              <a:tailEnd type="none" w="med" len="med"/>
            </a:ln>
            <a:effectLst/>
          </p:spPr>
          <p:txBody>
            <a:bodyPr lIns="36000" tIns="36000" rIns="36000" bIns="36000" anchor="ctr"/>
            <a:lstStyle/>
            <a:p>
              <a:pPr algn="ctr">
                <a:defRPr/>
              </a:pPr>
              <a:endParaRPr lang="de-DE" sz="1000" b="1" dirty="0" smtClean="0">
                <a:solidFill>
                  <a:srgbClr val="FFFFFF"/>
                </a:solidFill>
              </a:endParaRPr>
            </a:p>
          </p:txBody>
        </p:sp>
        <p:sp>
          <p:nvSpPr>
            <p:cNvPr id="281" name="Raute 280"/>
            <p:cNvSpPr/>
            <p:nvPr/>
          </p:nvSpPr>
          <p:spPr bwMode="auto">
            <a:xfrm>
              <a:off x="4846111" y="6117111"/>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282" name="Raute 281"/>
            <p:cNvSpPr/>
            <p:nvPr/>
          </p:nvSpPr>
          <p:spPr bwMode="auto">
            <a:xfrm>
              <a:off x="6210012" y="6117111"/>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289" name="Rechteck 288"/>
            <p:cNvSpPr/>
            <p:nvPr/>
          </p:nvSpPr>
          <p:spPr>
            <a:xfrm>
              <a:off x="5050362" y="6237312"/>
              <a:ext cx="1214567" cy="684092"/>
            </a:xfrm>
            <a:prstGeom prst="rect">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000" dirty="0" smtClean="0">
                  <a:solidFill>
                    <a:prstClr val="white"/>
                  </a:solidFill>
                </a:rPr>
                <a:t>RS 400</a:t>
              </a:r>
              <a:br>
                <a:rPr lang="de-DE" sz="1000" dirty="0" smtClean="0">
                  <a:solidFill>
                    <a:prstClr val="white"/>
                  </a:solidFill>
                </a:rPr>
              </a:br>
              <a:r>
                <a:rPr lang="de-DE" sz="700" smtClean="0">
                  <a:solidFill>
                    <a:prstClr val="white"/>
                  </a:solidFill>
                </a:rPr>
                <a:t>(virtual</a:t>
              </a:r>
              <a:r>
                <a:rPr lang="de-DE" sz="700" dirty="0" smtClean="0">
                  <a:solidFill>
                    <a:prstClr val="white"/>
                  </a:solidFill>
                </a:rPr>
                <a:t>)</a:t>
              </a:r>
              <a:endParaRPr lang="de-DE" sz="700" dirty="0">
                <a:solidFill>
                  <a:prstClr val="white"/>
                </a:solidFill>
              </a:endParaRPr>
            </a:p>
          </p:txBody>
        </p:sp>
      </p:grpSp>
      <p:grpSp>
        <p:nvGrpSpPr>
          <p:cNvPr id="19" name="Gruppieren 306"/>
          <p:cNvGrpSpPr/>
          <p:nvPr/>
        </p:nvGrpSpPr>
        <p:grpSpPr>
          <a:xfrm>
            <a:off x="5873495" y="5172432"/>
            <a:ext cx="1601863" cy="521373"/>
            <a:chOff x="5655547" y="5532472"/>
            <a:chExt cx="1601863" cy="521373"/>
          </a:xfrm>
        </p:grpSpPr>
        <p:sp>
          <p:nvSpPr>
            <p:cNvPr id="265" name="Abgerundetes Rechteck 264"/>
            <p:cNvSpPr/>
            <p:nvPr/>
          </p:nvSpPr>
          <p:spPr bwMode="auto">
            <a:xfrm flipH="1">
              <a:off x="5734033" y="5909845"/>
              <a:ext cx="1440000" cy="144000"/>
            </a:xfrm>
            <a:prstGeom prst="roundRect">
              <a:avLst>
                <a:gd name="adj" fmla="val 0"/>
              </a:avLst>
            </a:prstGeom>
            <a:solidFill>
              <a:srgbClr val="405A7F"/>
            </a:solidFill>
            <a:ln w="19050" cap="flat" cmpd="sng" algn="ctr">
              <a:solidFill>
                <a:srgbClr val="405A7F"/>
              </a:solidFill>
              <a:prstDash val="solid"/>
              <a:round/>
              <a:headEnd type="none" w="med" len="med"/>
              <a:tailEnd type="none" w="med" len="med"/>
            </a:ln>
            <a:effectLst/>
          </p:spPr>
          <p:txBody>
            <a:bodyPr lIns="36000" tIns="36000" rIns="36000" bIns="36000" anchor="ctr"/>
            <a:lstStyle/>
            <a:p>
              <a:pPr algn="ctr">
                <a:defRPr/>
              </a:pPr>
              <a:endParaRPr lang="de-DE" sz="1000" b="1" dirty="0" smtClean="0">
                <a:solidFill>
                  <a:srgbClr val="FFFFFF"/>
                </a:solidFill>
              </a:endParaRPr>
            </a:p>
          </p:txBody>
        </p:sp>
        <p:sp>
          <p:nvSpPr>
            <p:cNvPr id="183" name="Raute 182"/>
            <p:cNvSpPr/>
            <p:nvPr/>
          </p:nvSpPr>
          <p:spPr bwMode="auto">
            <a:xfrm>
              <a:off x="5655547" y="5909845"/>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184" name="Raute 183"/>
            <p:cNvSpPr/>
            <p:nvPr/>
          </p:nvSpPr>
          <p:spPr bwMode="auto">
            <a:xfrm>
              <a:off x="7113410" y="5909845"/>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195" name="Rechteck 194"/>
            <p:cNvSpPr/>
            <p:nvPr/>
          </p:nvSpPr>
          <p:spPr>
            <a:xfrm>
              <a:off x="5854852" y="5532472"/>
              <a:ext cx="1214567" cy="315826"/>
            </a:xfrm>
            <a:prstGeom prst="rect">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000" dirty="0" smtClean="0">
                  <a:solidFill>
                    <a:prstClr val="white"/>
                  </a:solidFill>
                </a:rPr>
                <a:t>RS  400</a:t>
              </a:r>
              <a:br>
                <a:rPr lang="de-DE" sz="1000" dirty="0" smtClean="0">
                  <a:solidFill>
                    <a:prstClr val="white"/>
                  </a:solidFill>
                </a:rPr>
              </a:br>
              <a:r>
                <a:rPr lang="de-DE" sz="700" dirty="0" smtClean="0">
                  <a:solidFill>
                    <a:prstClr val="white"/>
                  </a:solidFill>
                </a:rPr>
                <a:t>(Hardware)</a:t>
              </a:r>
              <a:endParaRPr lang="de-DE" sz="700" dirty="0">
                <a:solidFill>
                  <a:prstClr val="white"/>
                </a:solidFill>
              </a:endParaRPr>
            </a:p>
          </p:txBody>
        </p:sp>
      </p:grpSp>
      <p:sp>
        <p:nvSpPr>
          <p:cNvPr id="90" name="Abgerundetes Rechteck 89"/>
          <p:cNvSpPr/>
          <p:nvPr/>
        </p:nvSpPr>
        <p:spPr bwMode="auto">
          <a:xfrm>
            <a:off x="2845730" y="3285564"/>
            <a:ext cx="1368000" cy="144000"/>
          </a:xfrm>
          <a:prstGeom prst="roundRect">
            <a:avLst>
              <a:gd name="adj" fmla="val 0"/>
            </a:avLst>
          </a:prstGeom>
          <a:solidFill>
            <a:schemeClr val="bg2">
              <a:lumMod val="60000"/>
              <a:lumOff val="40000"/>
            </a:schemeClr>
          </a:solidFill>
          <a:ln w="19050" cap="flat" cmpd="sng" algn="ctr">
            <a:solidFill>
              <a:srgbClr val="7B95BB"/>
            </a:solidFill>
            <a:prstDash val="solid"/>
            <a:round/>
            <a:headEnd type="none" w="med" len="med"/>
            <a:tailEnd type="none" w="med" len="med"/>
          </a:ln>
          <a:effectLst/>
        </p:spPr>
        <p:txBody>
          <a:bodyPr lIns="36000" tIns="36000" rIns="36000" bIns="36000" anchor="ctr"/>
          <a:lstStyle/>
          <a:p>
            <a:pPr algn="ctr">
              <a:defRPr/>
            </a:pPr>
            <a:r>
              <a:rPr lang="de-DE" sz="1000" b="1" dirty="0" smtClean="0">
                <a:solidFill>
                  <a:srgbClr val="FFFFFF"/>
                </a:solidFill>
              </a:rPr>
              <a:t>MT</a:t>
            </a:r>
            <a:endParaRPr lang="de-DE" sz="1000" b="1" dirty="0">
              <a:solidFill>
                <a:srgbClr val="FFFFFF"/>
              </a:solidFill>
            </a:endParaRPr>
          </a:p>
        </p:txBody>
      </p:sp>
      <p:grpSp>
        <p:nvGrpSpPr>
          <p:cNvPr id="20" name="Gruppieren 280"/>
          <p:cNvGrpSpPr/>
          <p:nvPr/>
        </p:nvGrpSpPr>
        <p:grpSpPr>
          <a:xfrm>
            <a:off x="2775911" y="4295152"/>
            <a:ext cx="1042222" cy="482948"/>
            <a:chOff x="2557964" y="4295152"/>
            <a:chExt cx="1042222" cy="482948"/>
          </a:xfrm>
        </p:grpSpPr>
        <p:sp>
          <p:nvSpPr>
            <p:cNvPr id="258" name="Abgerundetes Rechteck 257"/>
            <p:cNvSpPr/>
            <p:nvPr/>
          </p:nvSpPr>
          <p:spPr bwMode="auto">
            <a:xfrm>
              <a:off x="2635714" y="4295152"/>
              <a:ext cx="885849" cy="144000"/>
            </a:xfrm>
            <a:prstGeom prst="roundRect">
              <a:avLst>
                <a:gd name="adj" fmla="val 0"/>
              </a:avLst>
            </a:prstGeom>
            <a:solidFill>
              <a:srgbClr val="405A7F"/>
            </a:solidFill>
            <a:ln w="19050" cap="flat" cmpd="sng" algn="ctr">
              <a:solidFill>
                <a:srgbClr val="405A7F"/>
              </a:solidFill>
              <a:prstDash val="solid"/>
              <a:round/>
              <a:headEnd type="none" w="med" len="med"/>
              <a:tailEnd type="none" w="med" len="med"/>
            </a:ln>
            <a:effectLst/>
          </p:spPr>
          <p:txBody>
            <a:bodyPr lIns="36000" tIns="36000" rIns="36000" bIns="36000" anchor="ctr"/>
            <a:lstStyle/>
            <a:p>
              <a:pPr algn="ctr">
                <a:defRPr/>
              </a:pPr>
              <a:endParaRPr lang="de-DE" sz="1000" b="1" dirty="0" smtClean="0">
                <a:solidFill>
                  <a:srgbClr val="FFFFFF"/>
                </a:solidFill>
              </a:endParaRPr>
            </a:p>
          </p:txBody>
        </p:sp>
        <p:sp>
          <p:nvSpPr>
            <p:cNvPr id="158" name="Raute 157"/>
            <p:cNvSpPr/>
            <p:nvPr/>
          </p:nvSpPr>
          <p:spPr bwMode="auto">
            <a:xfrm>
              <a:off x="2557964" y="4295152"/>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159" name="Raute 158"/>
            <p:cNvSpPr/>
            <p:nvPr/>
          </p:nvSpPr>
          <p:spPr bwMode="auto">
            <a:xfrm>
              <a:off x="3456186" y="4295152"/>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189" name="Rechteck 188"/>
            <p:cNvSpPr/>
            <p:nvPr/>
          </p:nvSpPr>
          <p:spPr>
            <a:xfrm>
              <a:off x="2843808" y="4430175"/>
              <a:ext cx="540000" cy="347925"/>
            </a:xfrm>
            <a:prstGeom prst="rect">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tlCol="0" anchor="t"/>
            <a:lstStyle/>
            <a:p>
              <a:pPr algn="ctr"/>
              <a:r>
                <a:rPr lang="de-DE" sz="1000" dirty="0" smtClean="0">
                  <a:solidFill>
                    <a:prstClr val="white"/>
                  </a:solidFill>
                </a:rPr>
                <a:t>RS 180</a:t>
              </a:r>
            </a:p>
            <a:p>
              <a:pPr algn="ctr"/>
              <a:r>
                <a:rPr lang="de-DE" sz="700" smtClean="0">
                  <a:solidFill>
                    <a:prstClr val="white"/>
                  </a:solidFill>
                </a:rPr>
                <a:t>(virtual</a:t>
              </a:r>
              <a:r>
                <a:rPr lang="de-DE" sz="700" dirty="0" smtClean="0">
                  <a:solidFill>
                    <a:prstClr val="white"/>
                  </a:solidFill>
                </a:rPr>
                <a:t>) </a:t>
              </a:r>
              <a:endParaRPr lang="de-DE" sz="700" dirty="0">
                <a:solidFill>
                  <a:prstClr val="white"/>
                </a:solidFill>
              </a:endParaRPr>
            </a:p>
          </p:txBody>
        </p:sp>
      </p:grpSp>
      <p:grpSp>
        <p:nvGrpSpPr>
          <p:cNvPr id="21" name="Gruppieren 211"/>
          <p:cNvGrpSpPr/>
          <p:nvPr/>
        </p:nvGrpSpPr>
        <p:grpSpPr>
          <a:xfrm>
            <a:off x="4198729" y="5416667"/>
            <a:ext cx="1193467" cy="432029"/>
            <a:chOff x="3980781" y="5416665"/>
            <a:chExt cx="1193467" cy="432029"/>
          </a:xfrm>
        </p:grpSpPr>
        <p:sp>
          <p:nvSpPr>
            <p:cNvPr id="262" name="Abgerundetes Rechteck 261"/>
            <p:cNvSpPr/>
            <p:nvPr/>
          </p:nvSpPr>
          <p:spPr bwMode="auto">
            <a:xfrm flipH="1">
              <a:off x="4156755" y="5416665"/>
              <a:ext cx="817200" cy="144000"/>
            </a:xfrm>
            <a:prstGeom prst="roundRect">
              <a:avLst>
                <a:gd name="adj" fmla="val 0"/>
              </a:avLst>
            </a:prstGeom>
            <a:solidFill>
              <a:srgbClr val="405A7F"/>
            </a:solidFill>
            <a:ln w="19050" cap="flat" cmpd="sng" algn="ctr">
              <a:solidFill>
                <a:srgbClr val="405A7F"/>
              </a:solidFill>
              <a:prstDash val="solid"/>
              <a:round/>
              <a:headEnd type="none" w="med" len="med"/>
              <a:tailEnd type="none" w="med" len="med"/>
            </a:ln>
            <a:effectLst/>
          </p:spPr>
          <p:txBody>
            <a:bodyPr lIns="36000" tIns="36000" rIns="36000" bIns="36000" anchor="ctr"/>
            <a:lstStyle/>
            <a:p>
              <a:pPr algn="ctr">
                <a:defRPr/>
              </a:pPr>
              <a:endParaRPr lang="de-DE" sz="1000" b="1" dirty="0" smtClean="0">
                <a:solidFill>
                  <a:srgbClr val="FFFFFF"/>
                </a:solidFill>
              </a:endParaRPr>
            </a:p>
          </p:txBody>
        </p:sp>
        <p:sp>
          <p:nvSpPr>
            <p:cNvPr id="164" name="Raute 163"/>
            <p:cNvSpPr/>
            <p:nvPr/>
          </p:nvSpPr>
          <p:spPr bwMode="auto">
            <a:xfrm>
              <a:off x="4077470" y="5416665"/>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174" name="Raute 173"/>
            <p:cNvSpPr/>
            <p:nvPr/>
          </p:nvSpPr>
          <p:spPr bwMode="auto">
            <a:xfrm>
              <a:off x="4904680" y="5416665"/>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192" name="Rechteck 191"/>
            <p:cNvSpPr/>
            <p:nvPr/>
          </p:nvSpPr>
          <p:spPr>
            <a:xfrm>
              <a:off x="3980781" y="5535564"/>
              <a:ext cx="1193467" cy="313130"/>
            </a:xfrm>
            <a:prstGeom prst="rect">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000" dirty="0" smtClean="0">
                  <a:solidFill>
                    <a:prstClr val="white"/>
                  </a:solidFill>
                </a:rPr>
                <a:t>RS300</a:t>
              </a:r>
              <a:br>
                <a:rPr lang="de-DE" sz="1000" dirty="0" smtClean="0">
                  <a:solidFill>
                    <a:prstClr val="white"/>
                  </a:solidFill>
                </a:rPr>
              </a:br>
              <a:r>
                <a:rPr lang="de-DE" sz="700" smtClean="0">
                  <a:solidFill>
                    <a:prstClr val="white"/>
                  </a:solidFill>
                </a:rPr>
                <a:t>(virtual</a:t>
              </a:r>
              <a:r>
                <a:rPr lang="de-DE" sz="700" dirty="0" smtClean="0">
                  <a:solidFill>
                    <a:prstClr val="white"/>
                  </a:solidFill>
                </a:rPr>
                <a:t>)</a:t>
              </a:r>
              <a:endParaRPr lang="de-DE" sz="700" dirty="0">
                <a:solidFill>
                  <a:prstClr val="white"/>
                </a:solidFill>
              </a:endParaRPr>
            </a:p>
          </p:txBody>
        </p:sp>
      </p:grpSp>
      <p:grpSp>
        <p:nvGrpSpPr>
          <p:cNvPr id="22" name="Gruppieren 303"/>
          <p:cNvGrpSpPr/>
          <p:nvPr/>
        </p:nvGrpSpPr>
        <p:grpSpPr>
          <a:xfrm>
            <a:off x="4037975" y="5570574"/>
            <a:ext cx="2402842" cy="483273"/>
            <a:chOff x="3820028" y="5570572"/>
            <a:chExt cx="2402842" cy="483273"/>
          </a:xfrm>
        </p:grpSpPr>
        <p:sp>
          <p:nvSpPr>
            <p:cNvPr id="193" name="Rechteck 192"/>
            <p:cNvSpPr/>
            <p:nvPr/>
          </p:nvSpPr>
          <p:spPr>
            <a:xfrm>
              <a:off x="4499992" y="5570572"/>
              <a:ext cx="1613704" cy="320589"/>
            </a:xfrm>
            <a:prstGeom prst="rect">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000" dirty="0" smtClean="0">
                  <a:solidFill>
                    <a:prstClr val="white"/>
                  </a:solidFill>
                </a:rPr>
                <a:t>RS 300 </a:t>
              </a:r>
              <a:br>
                <a:rPr lang="de-DE" sz="1000" dirty="0" smtClean="0">
                  <a:solidFill>
                    <a:prstClr val="white"/>
                  </a:solidFill>
                </a:rPr>
              </a:br>
              <a:r>
                <a:rPr lang="de-DE" sz="700" dirty="0" smtClean="0">
                  <a:solidFill>
                    <a:prstClr val="white"/>
                  </a:solidFill>
                </a:rPr>
                <a:t>(Hardware)</a:t>
              </a:r>
              <a:endParaRPr lang="de-DE" sz="700" dirty="0">
                <a:solidFill>
                  <a:prstClr val="white"/>
                </a:solidFill>
              </a:endParaRPr>
            </a:p>
          </p:txBody>
        </p:sp>
        <p:sp>
          <p:nvSpPr>
            <p:cNvPr id="263" name="Abgerundetes Rechteck 262"/>
            <p:cNvSpPr/>
            <p:nvPr/>
          </p:nvSpPr>
          <p:spPr bwMode="auto">
            <a:xfrm flipH="1">
              <a:off x="3907594" y="5909845"/>
              <a:ext cx="2232000" cy="144000"/>
            </a:xfrm>
            <a:prstGeom prst="roundRect">
              <a:avLst>
                <a:gd name="adj" fmla="val 0"/>
              </a:avLst>
            </a:prstGeom>
            <a:solidFill>
              <a:srgbClr val="405A7F"/>
            </a:solidFill>
            <a:ln w="19050" cap="flat" cmpd="sng" algn="ctr">
              <a:solidFill>
                <a:srgbClr val="405A7F"/>
              </a:solidFill>
              <a:prstDash val="solid"/>
              <a:round/>
              <a:headEnd type="none" w="med" len="med"/>
              <a:tailEnd type="none" w="med" len="med"/>
            </a:ln>
            <a:effectLst/>
          </p:spPr>
          <p:txBody>
            <a:bodyPr lIns="36000" tIns="36000" rIns="36000" bIns="36000" anchor="ctr"/>
            <a:lstStyle/>
            <a:p>
              <a:pPr algn="ctr">
                <a:defRPr/>
              </a:pPr>
              <a:endParaRPr lang="de-DE" sz="1000" b="1" dirty="0" smtClean="0">
                <a:solidFill>
                  <a:srgbClr val="FFFFFF"/>
                </a:solidFill>
              </a:endParaRPr>
            </a:p>
          </p:txBody>
        </p:sp>
        <p:sp>
          <p:nvSpPr>
            <p:cNvPr id="177" name="Raute 176"/>
            <p:cNvSpPr/>
            <p:nvPr/>
          </p:nvSpPr>
          <p:spPr bwMode="auto">
            <a:xfrm>
              <a:off x="3820028" y="5909845"/>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178" name="Raute 177"/>
            <p:cNvSpPr/>
            <p:nvPr/>
          </p:nvSpPr>
          <p:spPr bwMode="auto">
            <a:xfrm>
              <a:off x="6078870" y="5909845"/>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grpSp>
      <p:grpSp>
        <p:nvGrpSpPr>
          <p:cNvPr id="23" name="Gruppieren 281"/>
          <p:cNvGrpSpPr/>
          <p:nvPr/>
        </p:nvGrpSpPr>
        <p:grpSpPr>
          <a:xfrm>
            <a:off x="2773667" y="4769646"/>
            <a:ext cx="2387368" cy="497270"/>
            <a:chOff x="2555720" y="4769646"/>
            <a:chExt cx="2387368" cy="497270"/>
          </a:xfrm>
        </p:grpSpPr>
        <p:sp>
          <p:nvSpPr>
            <p:cNvPr id="272" name="Abgerundetes Rechteck 271"/>
            <p:cNvSpPr/>
            <p:nvPr/>
          </p:nvSpPr>
          <p:spPr bwMode="auto">
            <a:xfrm>
              <a:off x="2626428" y="4769646"/>
              <a:ext cx="2232000" cy="144000"/>
            </a:xfrm>
            <a:prstGeom prst="roundRect">
              <a:avLst>
                <a:gd name="adj" fmla="val 0"/>
              </a:avLst>
            </a:prstGeom>
            <a:solidFill>
              <a:srgbClr val="405A7F"/>
            </a:solidFill>
            <a:ln w="19050" cap="flat" cmpd="sng" algn="ctr">
              <a:solidFill>
                <a:srgbClr val="405A7F"/>
              </a:solidFill>
              <a:prstDash val="solid"/>
              <a:round/>
              <a:headEnd type="none" w="med" len="med"/>
              <a:tailEnd type="none" w="med" len="med"/>
            </a:ln>
            <a:effectLst/>
          </p:spPr>
          <p:txBody>
            <a:bodyPr lIns="36000" tIns="36000" rIns="36000" bIns="36000" anchor="ctr"/>
            <a:lstStyle/>
            <a:p>
              <a:pPr algn="ctr">
                <a:defRPr/>
              </a:pPr>
              <a:endParaRPr lang="de-DE" sz="1000" b="1" dirty="0" smtClean="0">
                <a:solidFill>
                  <a:srgbClr val="FFFFFF"/>
                </a:solidFill>
              </a:endParaRPr>
            </a:p>
          </p:txBody>
        </p:sp>
        <p:sp>
          <p:nvSpPr>
            <p:cNvPr id="273" name="Raute 272"/>
            <p:cNvSpPr/>
            <p:nvPr/>
          </p:nvSpPr>
          <p:spPr bwMode="auto">
            <a:xfrm>
              <a:off x="2555720" y="4769646"/>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275" name="Raute 274"/>
            <p:cNvSpPr/>
            <p:nvPr/>
          </p:nvSpPr>
          <p:spPr bwMode="auto">
            <a:xfrm>
              <a:off x="4799088" y="4769646"/>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276" name="Rechteck 275"/>
            <p:cNvSpPr/>
            <p:nvPr/>
          </p:nvSpPr>
          <p:spPr>
            <a:xfrm>
              <a:off x="3112408" y="4890559"/>
              <a:ext cx="1050757" cy="376357"/>
            </a:xfrm>
            <a:prstGeom prst="rect">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tlCol="0" anchor="t"/>
            <a:lstStyle/>
            <a:p>
              <a:pPr algn="ctr"/>
              <a:r>
                <a:rPr lang="de-DE" sz="1000" dirty="0" smtClean="0">
                  <a:solidFill>
                    <a:prstClr val="white"/>
                  </a:solidFill>
                </a:rPr>
                <a:t>RS 180 </a:t>
              </a:r>
              <a:br>
                <a:rPr lang="de-DE" sz="1000" dirty="0" smtClean="0">
                  <a:solidFill>
                    <a:prstClr val="white"/>
                  </a:solidFill>
                </a:rPr>
              </a:br>
              <a:r>
                <a:rPr lang="de-DE" sz="700" dirty="0" smtClean="0">
                  <a:solidFill>
                    <a:prstClr val="white"/>
                  </a:solidFill>
                </a:rPr>
                <a:t>(Hardware)</a:t>
              </a:r>
              <a:endParaRPr lang="de-DE" sz="700" dirty="0">
                <a:solidFill>
                  <a:prstClr val="white"/>
                </a:solidFill>
              </a:endParaRPr>
            </a:p>
          </p:txBody>
        </p:sp>
      </p:grpSp>
      <p:sp>
        <p:nvSpPr>
          <p:cNvPr id="221" name="Abgerundetes Rechteck 220"/>
          <p:cNvSpPr/>
          <p:nvPr/>
        </p:nvSpPr>
        <p:spPr bwMode="auto">
          <a:xfrm>
            <a:off x="5149986" y="2924944"/>
            <a:ext cx="1356871" cy="144000"/>
          </a:xfrm>
          <a:prstGeom prst="roundRect">
            <a:avLst>
              <a:gd name="adj" fmla="val 0"/>
            </a:avLst>
          </a:prstGeom>
          <a:solidFill>
            <a:schemeClr val="bg2">
              <a:lumMod val="60000"/>
              <a:lumOff val="40000"/>
            </a:schemeClr>
          </a:solidFill>
          <a:ln w="19050" cap="flat" cmpd="sng" algn="ctr">
            <a:solidFill>
              <a:schemeClr val="bg2">
                <a:lumMod val="60000"/>
                <a:lumOff val="40000"/>
              </a:schemeClr>
            </a:solidFill>
            <a:prstDash val="solid"/>
            <a:round/>
            <a:headEnd type="none" w="med" len="med"/>
            <a:tailEnd type="none" w="med" len="med"/>
          </a:ln>
          <a:effectLst/>
        </p:spPr>
        <p:txBody>
          <a:bodyPr lIns="36000" tIns="36000" rIns="36000" bIns="36000" anchor="ctr"/>
          <a:lstStyle/>
          <a:p>
            <a:pPr algn="ctr">
              <a:defRPr/>
            </a:pPr>
            <a:r>
              <a:rPr lang="de-DE" sz="1000" b="1" dirty="0" smtClean="0">
                <a:solidFill>
                  <a:srgbClr val="FFFFFF"/>
                </a:solidFill>
              </a:rPr>
              <a:t>VSBG</a:t>
            </a:r>
            <a:endParaRPr lang="de-DE" sz="1000" b="1" dirty="0">
              <a:solidFill>
                <a:srgbClr val="FFFFFF"/>
              </a:solidFill>
            </a:endParaRPr>
          </a:p>
        </p:txBody>
      </p:sp>
      <p:cxnSp>
        <p:nvCxnSpPr>
          <p:cNvPr id="8" name="Gerade Verbindung 7"/>
          <p:cNvCxnSpPr/>
          <p:nvPr/>
        </p:nvCxnSpPr>
        <p:spPr>
          <a:xfrm flipV="1">
            <a:off x="314403" y="6592019"/>
            <a:ext cx="8403195" cy="16845"/>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19" name="Abgerundetes Rechteck 218"/>
          <p:cNvSpPr/>
          <p:nvPr/>
        </p:nvSpPr>
        <p:spPr bwMode="auto">
          <a:xfrm>
            <a:off x="6372948" y="3284768"/>
            <a:ext cx="2139630" cy="147660"/>
          </a:xfrm>
          <a:prstGeom prst="roundRect">
            <a:avLst>
              <a:gd name="adj" fmla="val 0"/>
            </a:avLst>
          </a:prstGeom>
          <a:solidFill>
            <a:schemeClr val="bg2">
              <a:lumMod val="60000"/>
              <a:lumOff val="40000"/>
            </a:schemeClr>
          </a:solidFill>
          <a:ln w="19050" cap="flat" cmpd="sng" algn="ctr">
            <a:solidFill>
              <a:schemeClr val="bg2">
                <a:lumMod val="60000"/>
                <a:lumOff val="40000"/>
              </a:schemeClr>
            </a:solidFill>
            <a:prstDash val="solid"/>
            <a:round/>
            <a:headEnd type="none" w="med" len="med"/>
            <a:tailEnd type="none" w="med" len="med"/>
          </a:ln>
          <a:effectLst/>
        </p:spPr>
        <p:txBody>
          <a:bodyPr lIns="36000" tIns="36000" rIns="36000" bIns="36000" anchor="ctr"/>
          <a:lstStyle/>
          <a:p>
            <a:pPr algn="ctr">
              <a:defRPr/>
            </a:pPr>
            <a:r>
              <a:rPr lang="de-DE" sz="1000" b="1" dirty="0" smtClean="0">
                <a:solidFill>
                  <a:srgbClr val="FFFFFF"/>
                </a:solidFill>
              </a:rPr>
              <a:t>                      VS1/VS2</a:t>
            </a:r>
            <a:endParaRPr lang="de-DE" sz="1000" b="1" dirty="0">
              <a:solidFill>
                <a:srgbClr val="FFFFFF"/>
              </a:solidFill>
            </a:endParaRPr>
          </a:p>
        </p:txBody>
      </p:sp>
      <p:sp>
        <p:nvSpPr>
          <p:cNvPr id="222" name="Abgerundetes Rechteck 221"/>
          <p:cNvSpPr/>
          <p:nvPr/>
        </p:nvSpPr>
        <p:spPr bwMode="auto">
          <a:xfrm>
            <a:off x="6701391" y="3288412"/>
            <a:ext cx="687289" cy="144016"/>
          </a:xfrm>
          <a:prstGeom prst="roundRect">
            <a:avLst>
              <a:gd name="adj" fmla="val 0"/>
            </a:avLst>
          </a:prstGeom>
          <a:pattFill prst="ltUpDiag">
            <a:fgClr>
              <a:schemeClr val="bg2">
                <a:lumMod val="20000"/>
                <a:lumOff val="80000"/>
              </a:schemeClr>
            </a:fgClr>
            <a:bgClr>
              <a:schemeClr val="bg2">
                <a:lumMod val="60000"/>
                <a:lumOff val="40000"/>
              </a:schemeClr>
            </a:bgClr>
          </a:pattFill>
          <a:ln w="19050" cap="flat" cmpd="sng" algn="ctr">
            <a:solidFill>
              <a:srgbClr val="7B95BB">
                <a:alpha val="48000"/>
              </a:srgbClr>
            </a:solidFill>
            <a:prstDash val="solid"/>
            <a:round/>
            <a:headEnd type="none" w="med" len="med"/>
            <a:tailEnd type="none" w="med" len="med"/>
          </a:ln>
          <a:effectLst/>
        </p:spPr>
        <p:txBody>
          <a:bodyPr lIns="36000" tIns="36000" rIns="36000" bIns="36000" anchor="ctr"/>
          <a:lstStyle/>
          <a:p>
            <a:pPr algn="ctr">
              <a:defRPr/>
            </a:pPr>
            <a:endParaRPr lang="de-DE" sz="1000" b="1" dirty="0">
              <a:solidFill>
                <a:srgbClr val="FFFFFF"/>
              </a:solidFill>
            </a:endParaRPr>
          </a:p>
        </p:txBody>
      </p:sp>
      <p:sp>
        <p:nvSpPr>
          <p:cNvPr id="223" name="Abgerundetes Rechteck 222"/>
          <p:cNvSpPr/>
          <p:nvPr/>
        </p:nvSpPr>
        <p:spPr bwMode="auto">
          <a:xfrm>
            <a:off x="4443939" y="3285564"/>
            <a:ext cx="1919683" cy="144000"/>
          </a:xfrm>
          <a:prstGeom prst="roundRect">
            <a:avLst>
              <a:gd name="adj" fmla="val 0"/>
            </a:avLst>
          </a:prstGeom>
          <a:solidFill>
            <a:schemeClr val="bg2">
              <a:lumMod val="60000"/>
              <a:lumOff val="40000"/>
            </a:schemeClr>
          </a:solidFill>
          <a:ln w="19050" cap="flat" cmpd="sng" algn="ctr">
            <a:solidFill>
              <a:schemeClr val="bg2">
                <a:lumMod val="60000"/>
                <a:lumOff val="40000"/>
              </a:schemeClr>
            </a:solidFill>
            <a:prstDash val="solid"/>
            <a:round/>
            <a:headEnd type="none" w="med" len="med"/>
            <a:tailEnd type="none" w="med" len="med"/>
          </a:ln>
          <a:effectLst/>
        </p:spPr>
        <p:txBody>
          <a:bodyPr lIns="36000" tIns="36000" rIns="36000" bIns="36000" anchor="ctr"/>
          <a:lstStyle/>
          <a:p>
            <a:pPr algn="ctr">
              <a:defRPr/>
            </a:pPr>
            <a:r>
              <a:rPr lang="de-DE" sz="1000" b="1" dirty="0" smtClean="0">
                <a:solidFill>
                  <a:srgbClr val="FFFFFF"/>
                </a:solidFill>
              </a:rPr>
              <a:t>BBG</a:t>
            </a:r>
            <a:endParaRPr lang="de-DE" sz="1000" b="1" dirty="0">
              <a:solidFill>
                <a:srgbClr val="FFFFFF"/>
              </a:solidFill>
            </a:endParaRPr>
          </a:p>
        </p:txBody>
      </p:sp>
      <p:sp>
        <p:nvSpPr>
          <p:cNvPr id="226" name="Abgerundetes Rechteck 225"/>
          <p:cNvSpPr/>
          <p:nvPr/>
        </p:nvSpPr>
        <p:spPr bwMode="auto">
          <a:xfrm>
            <a:off x="5940899" y="3284984"/>
            <a:ext cx="429737" cy="144016"/>
          </a:xfrm>
          <a:prstGeom prst="roundRect">
            <a:avLst>
              <a:gd name="adj" fmla="val 0"/>
            </a:avLst>
          </a:prstGeom>
          <a:pattFill prst="ltUpDiag">
            <a:fgClr>
              <a:schemeClr val="bg2">
                <a:lumMod val="20000"/>
                <a:lumOff val="80000"/>
              </a:schemeClr>
            </a:fgClr>
            <a:bgClr>
              <a:schemeClr val="bg2">
                <a:lumMod val="60000"/>
                <a:lumOff val="40000"/>
              </a:schemeClr>
            </a:bgClr>
          </a:pattFill>
          <a:ln w="19050" cap="flat" cmpd="sng" algn="ctr">
            <a:solidFill>
              <a:srgbClr val="7B95BB">
                <a:alpha val="48000"/>
              </a:srgbClr>
            </a:solidFill>
            <a:prstDash val="solid"/>
            <a:round/>
            <a:headEnd type="none" w="med" len="med"/>
            <a:tailEnd type="none" w="med" len="med"/>
          </a:ln>
          <a:effectLst/>
        </p:spPr>
        <p:txBody>
          <a:bodyPr lIns="36000" tIns="36000" rIns="36000" bIns="36000" anchor="ctr"/>
          <a:lstStyle/>
          <a:p>
            <a:pPr algn="ctr">
              <a:defRPr/>
            </a:pPr>
            <a:endParaRPr lang="de-DE" sz="1000" b="1" dirty="0">
              <a:solidFill>
                <a:srgbClr val="FFFFFF"/>
              </a:solidFill>
            </a:endParaRPr>
          </a:p>
        </p:txBody>
      </p:sp>
      <p:sp>
        <p:nvSpPr>
          <p:cNvPr id="232" name="Rechteck 231"/>
          <p:cNvSpPr/>
          <p:nvPr/>
        </p:nvSpPr>
        <p:spPr>
          <a:xfrm>
            <a:off x="6225503" y="3239264"/>
            <a:ext cx="648072" cy="23327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de-DE" sz="1000" b="1" dirty="0" smtClean="0">
                <a:solidFill>
                  <a:srgbClr val="FFFFFF"/>
                </a:solidFill>
              </a:rPr>
              <a:t>PVL/VS0</a:t>
            </a:r>
            <a:endParaRPr lang="de-DE" sz="1000" b="1" dirty="0">
              <a:solidFill>
                <a:srgbClr val="FFFFFF"/>
              </a:solidFill>
            </a:endParaRPr>
          </a:p>
        </p:txBody>
      </p:sp>
      <p:sp>
        <p:nvSpPr>
          <p:cNvPr id="211" name="Abgerundetes Rechteck 210"/>
          <p:cNvSpPr/>
          <p:nvPr/>
        </p:nvSpPr>
        <p:spPr bwMode="auto">
          <a:xfrm>
            <a:off x="4111394" y="3284984"/>
            <a:ext cx="1080000" cy="144000"/>
          </a:xfrm>
          <a:prstGeom prst="roundRect">
            <a:avLst>
              <a:gd name="adj" fmla="val 0"/>
            </a:avLst>
          </a:prstGeom>
          <a:pattFill prst="ltUpDiag">
            <a:fgClr>
              <a:schemeClr val="bg2">
                <a:lumMod val="20000"/>
                <a:lumOff val="80000"/>
              </a:schemeClr>
            </a:fgClr>
            <a:bgClr>
              <a:schemeClr val="bg2">
                <a:lumMod val="60000"/>
                <a:lumOff val="40000"/>
              </a:schemeClr>
            </a:bgClr>
          </a:pattFill>
          <a:ln w="19050" cap="flat" cmpd="sng" algn="ctr">
            <a:solidFill>
              <a:srgbClr val="7B95BB">
                <a:alpha val="48000"/>
              </a:srgbClr>
            </a:solidFill>
            <a:prstDash val="solid"/>
            <a:round/>
            <a:headEnd type="none" w="med" len="med"/>
            <a:tailEnd type="none" w="med" len="med"/>
          </a:ln>
          <a:effectLst/>
        </p:spPr>
        <p:txBody>
          <a:bodyPr lIns="36000" tIns="36000" rIns="36000" bIns="36000" anchor="ctr"/>
          <a:lstStyle/>
          <a:p>
            <a:pPr algn="ctr">
              <a:defRPr/>
            </a:pPr>
            <a:endParaRPr lang="de-DE" sz="1000" b="1" dirty="0">
              <a:solidFill>
                <a:srgbClr val="FFFFFF"/>
              </a:solidFill>
            </a:endParaRPr>
          </a:p>
        </p:txBody>
      </p:sp>
      <p:grpSp>
        <p:nvGrpSpPr>
          <p:cNvPr id="24" name="Gruppieren 48"/>
          <p:cNvGrpSpPr>
            <a:grpSpLocks/>
          </p:cNvGrpSpPr>
          <p:nvPr/>
        </p:nvGrpSpPr>
        <p:grpSpPr bwMode="auto">
          <a:xfrm flipH="1">
            <a:off x="5001254" y="3660351"/>
            <a:ext cx="792163" cy="323850"/>
            <a:chOff x="7527943" y="3505711"/>
            <a:chExt cx="1184726" cy="434397"/>
          </a:xfrm>
        </p:grpSpPr>
        <p:grpSp>
          <p:nvGrpSpPr>
            <p:cNvPr id="25" name="Gruppieren 265"/>
            <p:cNvGrpSpPr>
              <a:grpSpLocks noChangeAspect="1"/>
            </p:cNvGrpSpPr>
            <p:nvPr/>
          </p:nvGrpSpPr>
          <p:grpSpPr bwMode="auto">
            <a:xfrm>
              <a:off x="7527943" y="3505711"/>
              <a:ext cx="1184726" cy="434397"/>
              <a:chOff x="5364171" y="3314767"/>
              <a:chExt cx="1285886" cy="471423"/>
            </a:xfrm>
          </p:grpSpPr>
          <p:sp>
            <p:nvSpPr>
              <p:cNvPr id="259" name="Ellipse 258"/>
              <p:cNvSpPr/>
              <p:nvPr/>
            </p:nvSpPr>
            <p:spPr>
              <a:xfrm>
                <a:off x="5467248" y="3566656"/>
                <a:ext cx="229347" cy="219534"/>
              </a:xfrm>
              <a:prstGeom prst="ellipse">
                <a:avLst/>
              </a:prstGeom>
              <a:noFill/>
              <a:ln w="38100" cap="flat" cmpd="sng" algn="ctr">
                <a:solidFill>
                  <a:schemeClr val="bg2">
                    <a:lumMod val="75000"/>
                  </a:schemeClr>
                </a:solidFill>
                <a:prstDash val="solid"/>
              </a:ln>
              <a:effectLst/>
            </p:spPr>
            <p:txBody>
              <a:bodyPr anchor="ctr"/>
              <a:lstStyle/>
              <a:p>
                <a:pPr eaLnBrk="0" hangingPunct="0">
                  <a:spcBef>
                    <a:spcPct val="50000"/>
                  </a:spcBef>
                  <a:defRPr/>
                </a:pPr>
                <a:endParaRPr lang="de-DE" kern="0" dirty="0">
                  <a:solidFill>
                    <a:srgbClr val="000000"/>
                  </a:solidFill>
                </a:endParaRPr>
              </a:p>
            </p:txBody>
          </p:sp>
          <p:sp>
            <p:nvSpPr>
              <p:cNvPr id="268" name="Ellipse 36"/>
              <p:cNvSpPr/>
              <p:nvPr/>
            </p:nvSpPr>
            <p:spPr>
              <a:xfrm>
                <a:off x="6294441" y="3566656"/>
                <a:ext cx="229345" cy="219534"/>
              </a:xfrm>
              <a:prstGeom prst="ellipse">
                <a:avLst/>
              </a:prstGeom>
              <a:noFill/>
              <a:ln w="38100" cap="flat" cmpd="sng" algn="ctr">
                <a:solidFill>
                  <a:schemeClr val="bg2">
                    <a:lumMod val="75000"/>
                  </a:schemeClr>
                </a:solidFill>
                <a:prstDash val="solid"/>
              </a:ln>
              <a:effectLst/>
            </p:spPr>
            <p:txBody>
              <a:bodyPr anchor="ctr"/>
              <a:lstStyle/>
              <a:p>
                <a:pPr eaLnBrk="0" hangingPunct="0">
                  <a:spcBef>
                    <a:spcPct val="50000"/>
                  </a:spcBef>
                  <a:defRPr/>
                </a:pPr>
                <a:endParaRPr lang="de-DE" kern="0" dirty="0">
                  <a:solidFill>
                    <a:srgbClr val="000000"/>
                  </a:solidFill>
                </a:endParaRPr>
              </a:p>
            </p:txBody>
          </p:sp>
          <p:cxnSp>
            <p:nvCxnSpPr>
              <p:cNvPr id="274" name="Gerade Verbindung 13"/>
              <p:cNvCxnSpPr>
                <a:cxnSpLocks noChangeShapeType="1"/>
              </p:cNvCxnSpPr>
              <p:nvPr/>
            </p:nvCxnSpPr>
            <p:spPr bwMode="auto">
              <a:xfrm flipV="1">
                <a:off x="5748134" y="3668335"/>
                <a:ext cx="510231" cy="30041"/>
              </a:xfrm>
              <a:prstGeom prst="line">
                <a:avLst/>
              </a:prstGeom>
              <a:noFill/>
              <a:ln w="19050" algn="ctr">
                <a:solidFill>
                  <a:schemeClr val="bg2">
                    <a:lumMod val="75000"/>
                  </a:schemeClr>
                </a:solidFill>
                <a:round/>
                <a:headEnd/>
                <a:tailEnd/>
              </a:ln>
            </p:spPr>
          </p:cxnSp>
          <p:sp>
            <p:nvSpPr>
              <p:cNvPr id="279" name="Freihandform 278"/>
              <p:cNvSpPr/>
              <p:nvPr/>
            </p:nvSpPr>
            <p:spPr>
              <a:xfrm>
                <a:off x="5364171" y="3314767"/>
                <a:ext cx="1285886" cy="409030"/>
              </a:xfrm>
              <a:custGeom>
                <a:avLst/>
                <a:gdLst>
                  <a:gd name="connsiteX0" fmla="*/ 15895 w 3131213"/>
                  <a:gd name="connsiteY0" fmla="*/ 992002 h 992002"/>
                  <a:gd name="connsiteX1" fmla="*/ 10285 w 3131213"/>
                  <a:gd name="connsiteY1" fmla="*/ 879806 h 992002"/>
                  <a:gd name="connsiteX2" fmla="*/ 15895 w 3131213"/>
                  <a:gd name="connsiteY2" fmla="*/ 762000 h 992002"/>
                  <a:gd name="connsiteX3" fmla="*/ 4675 w 3131213"/>
                  <a:gd name="connsiteY3" fmla="*/ 717121 h 992002"/>
                  <a:gd name="connsiteX4" fmla="*/ 43944 w 3131213"/>
                  <a:gd name="connsiteY4" fmla="*/ 677852 h 992002"/>
                  <a:gd name="connsiteX5" fmla="*/ 43944 w 3131213"/>
                  <a:gd name="connsiteY5" fmla="*/ 543217 h 992002"/>
                  <a:gd name="connsiteX6" fmla="*/ 184189 w 3131213"/>
                  <a:gd name="connsiteY6" fmla="*/ 447850 h 992002"/>
                  <a:gd name="connsiteX7" fmla="*/ 705902 w 3131213"/>
                  <a:gd name="connsiteY7" fmla="*/ 290775 h 992002"/>
                  <a:gd name="connsiteX8" fmla="*/ 711512 w 3131213"/>
                  <a:gd name="connsiteY8" fmla="*/ 307605 h 992002"/>
                  <a:gd name="connsiteX9" fmla="*/ 857367 w 3131213"/>
                  <a:gd name="connsiteY9" fmla="*/ 229067 h 992002"/>
                  <a:gd name="connsiteX10" fmla="*/ 1081760 w 3131213"/>
                  <a:gd name="connsiteY10" fmla="*/ 122481 h 992002"/>
                  <a:gd name="connsiteX11" fmla="*/ 1283713 w 3131213"/>
                  <a:gd name="connsiteY11" fmla="*/ 49553 h 992002"/>
                  <a:gd name="connsiteX12" fmla="*/ 1782987 w 3131213"/>
                  <a:gd name="connsiteY12" fmla="*/ 4675 h 992002"/>
                  <a:gd name="connsiteX13" fmla="*/ 2170064 w 3131213"/>
                  <a:gd name="connsiteY13" fmla="*/ 21504 h 992002"/>
                  <a:gd name="connsiteX14" fmla="*/ 2585190 w 3131213"/>
                  <a:gd name="connsiteY14" fmla="*/ 71992 h 992002"/>
                  <a:gd name="connsiteX15" fmla="*/ 2826412 w 3131213"/>
                  <a:gd name="connsiteY15" fmla="*/ 116871 h 992002"/>
                  <a:gd name="connsiteX16" fmla="*/ 2904950 w 3131213"/>
                  <a:gd name="connsiteY16" fmla="*/ 116871 h 992002"/>
                  <a:gd name="connsiteX17" fmla="*/ 2871291 w 3131213"/>
                  <a:gd name="connsiteY17" fmla="*/ 172969 h 992002"/>
                  <a:gd name="connsiteX18" fmla="*/ 2977877 w 3131213"/>
                  <a:gd name="connsiteY18" fmla="*/ 318824 h 992002"/>
                  <a:gd name="connsiteX19" fmla="*/ 3028366 w 3131213"/>
                  <a:gd name="connsiteY19" fmla="*/ 352483 h 992002"/>
                  <a:gd name="connsiteX20" fmla="*/ 3039585 w 3131213"/>
                  <a:gd name="connsiteY20" fmla="*/ 560046 h 992002"/>
                  <a:gd name="connsiteX21" fmla="*/ 3118123 w 3131213"/>
                  <a:gd name="connsiteY21" fmla="*/ 644194 h 992002"/>
                  <a:gd name="connsiteX22" fmla="*/ 3118123 w 3131213"/>
                  <a:gd name="connsiteY22" fmla="*/ 823708 h 992002"/>
                  <a:gd name="connsiteX23" fmla="*/ 3067634 w 3131213"/>
                  <a:gd name="connsiteY23" fmla="*/ 919075 h 992002"/>
                  <a:gd name="connsiteX24" fmla="*/ 3056415 w 3131213"/>
                  <a:gd name="connsiteY24" fmla="*/ 980783 h 99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31213" h="992002">
                    <a:moveTo>
                      <a:pt x="15895" y="992002"/>
                    </a:moveTo>
                    <a:cubicBezTo>
                      <a:pt x="13090" y="955071"/>
                      <a:pt x="10285" y="918140"/>
                      <a:pt x="10285" y="879806"/>
                    </a:cubicBezTo>
                    <a:cubicBezTo>
                      <a:pt x="10285" y="841472"/>
                      <a:pt x="16830" y="789114"/>
                      <a:pt x="15895" y="762000"/>
                    </a:cubicBezTo>
                    <a:cubicBezTo>
                      <a:pt x="14960" y="734886"/>
                      <a:pt x="0" y="731146"/>
                      <a:pt x="4675" y="717121"/>
                    </a:cubicBezTo>
                    <a:cubicBezTo>
                      <a:pt x="9350" y="703096"/>
                      <a:pt x="37399" y="706836"/>
                      <a:pt x="43944" y="677852"/>
                    </a:cubicBezTo>
                    <a:cubicBezTo>
                      <a:pt x="50489" y="648868"/>
                      <a:pt x="20570" y="581551"/>
                      <a:pt x="43944" y="543217"/>
                    </a:cubicBezTo>
                    <a:cubicBezTo>
                      <a:pt x="67318" y="504883"/>
                      <a:pt x="73863" y="489924"/>
                      <a:pt x="184189" y="447850"/>
                    </a:cubicBezTo>
                    <a:cubicBezTo>
                      <a:pt x="294515" y="405776"/>
                      <a:pt x="618015" y="314149"/>
                      <a:pt x="705902" y="290775"/>
                    </a:cubicBezTo>
                    <a:cubicBezTo>
                      <a:pt x="793789" y="267401"/>
                      <a:pt x="686268" y="317890"/>
                      <a:pt x="711512" y="307605"/>
                    </a:cubicBezTo>
                    <a:cubicBezTo>
                      <a:pt x="736756" y="297320"/>
                      <a:pt x="795659" y="259921"/>
                      <a:pt x="857367" y="229067"/>
                    </a:cubicBezTo>
                    <a:cubicBezTo>
                      <a:pt x="919075" y="198213"/>
                      <a:pt x="1010702" y="152400"/>
                      <a:pt x="1081760" y="122481"/>
                    </a:cubicBezTo>
                    <a:cubicBezTo>
                      <a:pt x="1152818" y="92562"/>
                      <a:pt x="1166842" y="69187"/>
                      <a:pt x="1283713" y="49553"/>
                    </a:cubicBezTo>
                    <a:cubicBezTo>
                      <a:pt x="1400584" y="29919"/>
                      <a:pt x="1635262" y="9350"/>
                      <a:pt x="1782987" y="4675"/>
                    </a:cubicBezTo>
                    <a:cubicBezTo>
                      <a:pt x="1930712" y="0"/>
                      <a:pt x="2036364" y="10285"/>
                      <a:pt x="2170064" y="21504"/>
                    </a:cubicBezTo>
                    <a:cubicBezTo>
                      <a:pt x="2303765" y="32724"/>
                      <a:pt x="2475799" y="56098"/>
                      <a:pt x="2585190" y="71992"/>
                    </a:cubicBezTo>
                    <a:cubicBezTo>
                      <a:pt x="2694581" y="87887"/>
                      <a:pt x="2773119" y="109391"/>
                      <a:pt x="2826412" y="116871"/>
                    </a:cubicBezTo>
                    <a:cubicBezTo>
                      <a:pt x="2879705" y="124351"/>
                      <a:pt x="2897470" y="107521"/>
                      <a:pt x="2904950" y="116871"/>
                    </a:cubicBezTo>
                    <a:cubicBezTo>
                      <a:pt x="2912430" y="126221"/>
                      <a:pt x="2859137" y="139310"/>
                      <a:pt x="2871291" y="172969"/>
                    </a:cubicBezTo>
                    <a:cubicBezTo>
                      <a:pt x="2883445" y="206628"/>
                      <a:pt x="2951698" y="288905"/>
                      <a:pt x="2977877" y="318824"/>
                    </a:cubicBezTo>
                    <a:cubicBezTo>
                      <a:pt x="3004056" y="348743"/>
                      <a:pt x="3018081" y="312279"/>
                      <a:pt x="3028366" y="352483"/>
                    </a:cubicBezTo>
                    <a:cubicBezTo>
                      <a:pt x="3038651" y="392687"/>
                      <a:pt x="3024626" y="511428"/>
                      <a:pt x="3039585" y="560046"/>
                    </a:cubicBezTo>
                    <a:cubicBezTo>
                      <a:pt x="3054545" y="608665"/>
                      <a:pt x="3105033" y="600250"/>
                      <a:pt x="3118123" y="644194"/>
                    </a:cubicBezTo>
                    <a:cubicBezTo>
                      <a:pt x="3131213" y="688138"/>
                      <a:pt x="3126538" y="777895"/>
                      <a:pt x="3118123" y="823708"/>
                    </a:cubicBezTo>
                    <a:cubicBezTo>
                      <a:pt x="3109708" y="869522"/>
                      <a:pt x="3077919" y="892896"/>
                      <a:pt x="3067634" y="919075"/>
                    </a:cubicBezTo>
                    <a:cubicBezTo>
                      <a:pt x="3057349" y="945254"/>
                      <a:pt x="3058285" y="972368"/>
                      <a:pt x="3056415" y="980783"/>
                    </a:cubicBezTo>
                  </a:path>
                </a:pathLst>
              </a:custGeom>
              <a:noFill/>
              <a:ln w="38100" cap="flat" cmpd="sng" algn="ctr">
                <a:solidFill>
                  <a:schemeClr val="bg2">
                    <a:lumMod val="75000"/>
                  </a:schemeClr>
                </a:solidFill>
                <a:prstDash val="solid"/>
              </a:ln>
              <a:effectLst/>
            </p:spPr>
            <p:txBody>
              <a:bodyPr anchor="ctr"/>
              <a:lstStyle/>
              <a:p>
                <a:pPr eaLnBrk="0" hangingPunct="0">
                  <a:spcBef>
                    <a:spcPct val="50000"/>
                  </a:spcBef>
                  <a:defRPr/>
                </a:pPr>
                <a:endParaRPr lang="de-DE" kern="0" dirty="0">
                  <a:solidFill>
                    <a:srgbClr val="000000"/>
                  </a:solidFill>
                </a:endParaRPr>
              </a:p>
            </p:txBody>
          </p:sp>
          <p:sp>
            <p:nvSpPr>
              <p:cNvPr id="280" name="Freihandform 279"/>
              <p:cNvSpPr/>
              <p:nvPr/>
            </p:nvSpPr>
            <p:spPr>
              <a:xfrm>
                <a:off x="5714633" y="3377162"/>
                <a:ext cx="721539" cy="117855"/>
              </a:xfrm>
              <a:custGeom>
                <a:avLst/>
                <a:gdLst>
                  <a:gd name="connsiteX0" fmla="*/ 8415 w 1755873"/>
                  <a:gd name="connsiteY0" fmla="*/ 235612 h 280490"/>
                  <a:gd name="connsiteX1" fmla="*/ 131831 w 1755873"/>
                  <a:gd name="connsiteY1" fmla="*/ 280490 h 280490"/>
                  <a:gd name="connsiteX2" fmla="*/ 799399 w 1755873"/>
                  <a:gd name="connsiteY2" fmla="*/ 258051 h 280490"/>
                  <a:gd name="connsiteX3" fmla="*/ 1472577 w 1755873"/>
                  <a:gd name="connsiteY3" fmla="*/ 230002 h 280490"/>
                  <a:gd name="connsiteX4" fmla="*/ 1663310 w 1755873"/>
                  <a:gd name="connsiteY4" fmla="*/ 151465 h 280490"/>
                  <a:gd name="connsiteX5" fmla="*/ 1753068 w 1755873"/>
                  <a:gd name="connsiteY5" fmla="*/ 84147 h 280490"/>
                  <a:gd name="connsiteX6" fmla="*/ 1680140 w 1755873"/>
                  <a:gd name="connsiteY6" fmla="*/ 0 h 280490"/>
                  <a:gd name="connsiteX0" fmla="*/ 8415 w 1755873"/>
                  <a:gd name="connsiteY0" fmla="*/ 235612 h 280490"/>
                  <a:gd name="connsiteX1" fmla="*/ 131831 w 1755873"/>
                  <a:gd name="connsiteY1" fmla="*/ 280490 h 280490"/>
                  <a:gd name="connsiteX2" fmla="*/ 799399 w 1755873"/>
                  <a:gd name="connsiteY2" fmla="*/ 258051 h 280490"/>
                  <a:gd name="connsiteX3" fmla="*/ 1472577 w 1755873"/>
                  <a:gd name="connsiteY3" fmla="*/ 230002 h 280490"/>
                  <a:gd name="connsiteX4" fmla="*/ 1663310 w 1755873"/>
                  <a:gd name="connsiteY4" fmla="*/ 151465 h 280490"/>
                  <a:gd name="connsiteX5" fmla="*/ 1753068 w 1755873"/>
                  <a:gd name="connsiteY5" fmla="*/ 84147 h 280490"/>
                  <a:gd name="connsiteX6" fmla="*/ 1680140 w 1755873"/>
                  <a:gd name="connsiteY6" fmla="*/ 0 h 28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5873" h="280490">
                    <a:moveTo>
                      <a:pt x="8415" y="235612"/>
                    </a:moveTo>
                    <a:cubicBezTo>
                      <a:pt x="4207" y="256181"/>
                      <a:pt x="0" y="276750"/>
                      <a:pt x="131831" y="280490"/>
                    </a:cubicBezTo>
                    <a:lnTo>
                      <a:pt x="799399" y="258051"/>
                    </a:lnTo>
                    <a:cubicBezTo>
                      <a:pt x="1022857" y="249636"/>
                      <a:pt x="1328592" y="247766"/>
                      <a:pt x="1472577" y="230002"/>
                    </a:cubicBezTo>
                    <a:lnTo>
                      <a:pt x="1663310" y="151465"/>
                    </a:lnTo>
                    <a:cubicBezTo>
                      <a:pt x="1710059" y="127156"/>
                      <a:pt x="1750263" y="109391"/>
                      <a:pt x="1753068" y="84147"/>
                    </a:cubicBezTo>
                    <a:cubicBezTo>
                      <a:pt x="1755873" y="58903"/>
                      <a:pt x="1704449" y="17764"/>
                      <a:pt x="1680140" y="0"/>
                    </a:cubicBezTo>
                  </a:path>
                </a:pathLst>
              </a:custGeom>
              <a:noFill/>
              <a:ln w="19050" cap="flat" cmpd="sng" algn="ctr">
                <a:solidFill>
                  <a:schemeClr val="bg2">
                    <a:lumMod val="75000"/>
                  </a:schemeClr>
                </a:solidFill>
                <a:prstDash val="solid"/>
              </a:ln>
              <a:effectLst/>
            </p:spPr>
            <p:txBody>
              <a:bodyPr anchor="ctr"/>
              <a:lstStyle/>
              <a:p>
                <a:pPr eaLnBrk="0" hangingPunct="0">
                  <a:spcBef>
                    <a:spcPct val="50000"/>
                  </a:spcBef>
                  <a:defRPr/>
                </a:pPr>
                <a:endParaRPr lang="de-DE" kern="0" dirty="0">
                  <a:solidFill>
                    <a:srgbClr val="000000"/>
                  </a:solidFill>
                </a:endParaRPr>
              </a:p>
            </p:txBody>
          </p:sp>
        </p:grpSp>
        <p:sp>
          <p:nvSpPr>
            <p:cNvPr id="257" name="Textfeld 103"/>
            <p:cNvSpPr txBox="1">
              <a:spLocks noChangeArrowheads="1"/>
            </p:cNvSpPr>
            <p:nvPr/>
          </p:nvSpPr>
          <p:spPr bwMode="auto">
            <a:xfrm>
              <a:off x="7743372" y="3604139"/>
              <a:ext cx="646154" cy="288852"/>
            </a:xfrm>
            <a:prstGeom prst="rect">
              <a:avLst/>
            </a:prstGeom>
            <a:noFill/>
            <a:ln w="9525">
              <a:noFill/>
              <a:miter lim="800000"/>
              <a:headEnd/>
              <a:tailEnd/>
            </a:ln>
          </p:spPr>
          <p:txBody>
            <a:bodyPr>
              <a:spAutoFit/>
            </a:bodyPr>
            <a:lstStyle/>
            <a:p>
              <a:r>
                <a:rPr lang="de-DE" sz="800" b="1" dirty="0">
                  <a:solidFill>
                    <a:srgbClr val="000000"/>
                  </a:solidFill>
                </a:rPr>
                <a:t>BBG</a:t>
              </a:r>
            </a:p>
          </p:txBody>
        </p:sp>
      </p:grpSp>
      <p:grpSp>
        <p:nvGrpSpPr>
          <p:cNvPr id="26" name="Gruppieren 48"/>
          <p:cNvGrpSpPr>
            <a:grpSpLocks/>
          </p:cNvGrpSpPr>
          <p:nvPr/>
        </p:nvGrpSpPr>
        <p:grpSpPr bwMode="auto">
          <a:xfrm flipH="1">
            <a:off x="6265841" y="3655618"/>
            <a:ext cx="792162" cy="323849"/>
            <a:chOff x="7527943" y="3505711"/>
            <a:chExt cx="1184726" cy="434397"/>
          </a:xfrm>
        </p:grpSpPr>
        <p:grpSp>
          <p:nvGrpSpPr>
            <p:cNvPr id="27" name="Gruppieren 265"/>
            <p:cNvGrpSpPr>
              <a:grpSpLocks noChangeAspect="1"/>
            </p:cNvGrpSpPr>
            <p:nvPr/>
          </p:nvGrpSpPr>
          <p:grpSpPr bwMode="auto">
            <a:xfrm>
              <a:off x="7527943" y="3505711"/>
              <a:ext cx="1184726" cy="434397"/>
              <a:chOff x="5364171" y="3314767"/>
              <a:chExt cx="1285886" cy="471423"/>
            </a:xfrm>
          </p:grpSpPr>
          <p:sp>
            <p:nvSpPr>
              <p:cNvPr id="284" name="Ellipse 283"/>
              <p:cNvSpPr/>
              <p:nvPr/>
            </p:nvSpPr>
            <p:spPr>
              <a:xfrm>
                <a:off x="5467248" y="3566656"/>
                <a:ext cx="229346" cy="219534"/>
              </a:xfrm>
              <a:prstGeom prst="ellipse">
                <a:avLst/>
              </a:prstGeom>
              <a:noFill/>
              <a:ln w="38100" cap="flat" cmpd="sng" algn="ctr">
                <a:solidFill>
                  <a:schemeClr val="bg2">
                    <a:lumMod val="75000"/>
                  </a:schemeClr>
                </a:solidFill>
                <a:prstDash val="solid"/>
              </a:ln>
              <a:effectLst/>
            </p:spPr>
            <p:txBody>
              <a:bodyPr anchor="ctr"/>
              <a:lstStyle/>
              <a:p>
                <a:pPr eaLnBrk="0" hangingPunct="0">
                  <a:spcBef>
                    <a:spcPct val="50000"/>
                  </a:spcBef>
                  <a:defRPr/>
                </a:pPr>
                <a:endParaRPr lang="de-DE" kern="0" dirty="0">
                  <a:solidFill>
                    <a:srgbClr val="000000"/>
                  </a:solidFill>
                </a:endParaRPr>
              </a:p>
            </p:txBody>
          </p:sp>
          <p:sp>
            <p:nvSpPr>
              <p:cNvPr id="285" name="Ellipse 36"/>
              <p:cNvSpPr/>
              <p:nvPr/>
            </p:nvSpPr>
            <p:spPr>
              <a:xfrm>
                <a:off x="6318907" y="3566656"/>
                <a:ext cx="229347" cy="219534"/>
              </a:xfrm>
              <a:prstGeom prst="ellipse">
                <a:avLst/>
              </a:prstGeom>
              <a:noFill/>
              <a:ln w="38100" cap="flat" cmpd="sng" algn="ctr">
                <a:solidFill>
                  <a:schemeClr val="bg2">
                    <a:lumMod val="75000"/>
                  </a:schemeClr>
                </a:solidFill>
                <a:prstDash val="solid"/>
              </a:ln>
              <a:effectLst/>
            </p:spPr>
            <p:txBody>
              <a:bodyPr anchor="ctr"/>
              <a:lstStyle/>
              <a:p>
                <a:pPr eaLnBrk="0" hangingPunct="0">
                  <a:spcBef>
                    <a:spcPct val="50000"/>
                  </a:spcBef>
                  <a:defRPr/>
                </a:pPr>
                <a:endParaRPr lang="de-DE" kern="0" dirty="0">
                  <a:solidFill>
                    <a:srgbClr val="000000"/>
                  </a:solidFill>
                </a:endParaRPr>
              </a:p>
            </p:txBody>
          </p:sp>
          <p:cxnSp>
            <p:nvCxnSpPr>
              <p:cNvPr id="286" name="Gerade Verbindung 13"/>
              <p:cNvCxnSpPr>
                <a:cxnSpLocks noChangeShapeType="1"/>
              </p:cNvCxnSpPr>
              <p:nvPr/>
            </p:nvCxnSpPr>
            <p:spPr bwMode="auto">
              <a:xfrm flipV="1">
                <a:off x="5748132" y="3668335"/>
                <a:ext cx="510232" cy="30041"/>
              </a:xfrm>
              <a:prstGeom prst="line">
                <a:avLst/>
              </a:prstGeom>
              <a:noFill/>
              <a:ln w="19050" algn="ctr">
                <a:solidFill>
                  <a:schemeClr val="bg2">
                    <a:lumMod val="75000"/>
                  </a:schemeClr>
                </a:solidFill>
                <a:round/>
                <a:headEnd/>
                <a:tailEnd/>
              </a:ln>
            </p:spPr>
          </p:cxnSp>
          <p:sp>
            <p:nvSpPr>
              <p:cNvPr id="287" name="Freihandform 286"/>
              <p:cNvSpPr/>
              <p:nvPr/>
            </p:nvSpPr>
            <p:spPr>
              <a:xfrm>
                <a:off x="5364171" y="3314767"/>
                <a:ext cx="1285886" cy="409030"/>
              </a:xfrm>
              <a:custGeom>
                <a:avLst/>
                <a:gdLst>
                  <a:gd name="connsiteX0" fmla="*/ 15895 w 3131213"/>
                  <a:gd name="connsiteY0" fmla="*/ 992002 h 992002"/>
                  <a:gd name="connsiteX1" fmla="*/ 10285 w 3131213"/>
                  <a:gd name="connsiteY1" fmla="*/ 879806 h 992002"/>
                  <a:gd name="connsiteX2" fmla="*/ 15895 w 3131213"/>
                  <a:gd name="connsiteY2" fmla="*/ 762000 h 992002"/>
                  <a:gd name="connsiteX3" fmla="*/ 4675 w 3131213"/>
                  <a:gd name="connsiteY3" fmla="*/ 717121 h 992002"/>
                  <a:gd name="connsiteX4" fmla="*/ 43944 w 3131213"/>
                  <a:gd name="connsiteY4" fmla="*/ 677852 h 992002"/>
                  <a:gd name="connsiteX5" fmla="*/ 43944 w 3131213"/>
                  <a:gd name="connsiteY5" fmla="*/ 543217 h 992002"/>
                  <a:gd name="connsiteX6" fmla="*/ 184189 w 3131213"/>
                  <a:gd name="connsiteY6" fmla="*/ 447850 h 992002"/>
                  <a:gd name="connsiteX7" fmla="*/ 705902 w 3131213"/>
                  <a:gd name="connsiteY7" fmla="*/ 290775 h 992002"/>
                  <a:gd name="connsiteX8" fmla="*/ 711512 w 3131213"/>
                  <a:gd name="connsiteY8" fmla="*/ 307605 h 992002"/>
                  <a:gd name="connsiteX9" fmla="*/ 857367 w 3131213"/>
                  <a:gd name="connsiteY9" fmla="*/ 229067 h 992002"/>
                  <a:gd name="connsiteX10" fmla="*/ 1081760 w 3131213"/>
                  <a:gd name="connsiteY10" fmla="*/ 122481 h 992002"/>
                  <a:gd name="connsiteX11" fmla="*/ 1283713 w 3131213"/>
                  <a:gd name="connsiteY11" fmla="*/ 49553 h 992002"/>
                  <a:gd name="connsiteX12" fmla="*/ 1782987 w 3131213"/>
                  <a:gd name="connsiteY12" fmla="*/ 4675 h 992002"/>
                  <a:gd name="connsiteX13" fmla="*/ 2170064 w 3131213"/>
                  <a:gd name="connsiteY13" fmla="*/ 21504 h 992002"/>
                  <a:gd name="connsiteX14" fmla="*/ 2585190 w 3131213"/>
                  <a:gd name="connsiteY14" fmla="*/ 71992 h 992002"/>
                  <a:gd name="connsiteX15" fmla="*/ 2826412 w 3131213"/>
                  <a:gd name="connsiteY15" fmla="*/ 116871 h 992002"/>
                  <a:gd name="connsiteX16" fmla="*/ 2904950 w 3131213"/>
                  <a:gd name="connsiteY16" fmla="*/ 116871 h 992002"/>
                  <a:gd name="connsiteX17" fmla="*/ 2871291 w 3131213"/>
                  <a:gd name="connsiteY17" fmla="*/ 172969 h 992002"/>
                  <a:gd name="connsiteX18" fmla="*/ 2977877 w 3131213"/>
                  <a:gd name="connsiteY18" fmla="*/ 318824 h 992002"/>
                  <a:gd name="connsiteX19" fmla="*/ 3028366 w 3131213"/>
                  <a:gd name="connsiteY19" fmla="*/ 352483 h 992002"/>
                  <a:gd name="connsiteX20" fmla="*/ 3039585 w 3131213"/>
                  <a:gd name="connsiteY20" fmla="*/ 560046 h 992002"/>
                  <a:gd name="connsiteX21" fmla="*/ 3118123 w 3131213"/>
                  <a:gd name="connsiteY21" fmla="*/ 644194 h 992002"/>
                  <a:gd name="connsiteX22" fmla="*/ 3118123 w 3131213"/>
                  <a:gd name="connsiteY22" fmla="*/ 823708 h 992002"/>
                  <a:gd name="connsiteX23" fmla="*/ 3067634 w 3131213"/>
                  <a:gd name="connsiteY23" fmla="*/ 919075 h 992002"/>
                  <a:gd name="connsiteX24" fmla="*/ 3056415 w 3131213"/>
                  <a:gd name="connsiteY24" fmla="*/ 980783 h 99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31213" h="992002">
                    <a:moveTo>
                      <a:pt x="15895" y="992002"/>
                    </a:moveTo>
                    <a:cubicBezTo>
                      <a:pt x="13090" y="955071"/>
                      <a:pt x="10285" y="918140"/>
                      <a:pt x="10285" y="879806"/>
                    </a:cubicBezTo>
                    <a:cubicBezTo>
                      <a:pt x="10285" y="841472"/>
                      <a:pt x="16830" y="789114"/>
                      <a:pt x="15895" y="762000"/>
                    </a:cubicBezTo>
                    <a:cubicBezTo>
                      <a:pt x="14960" y="734886"/>
                      <a:pt x="0" y="731146"/>
                      <a:pt x="4675" y="717121"/>
                    </a:cubicBezTo>
                    <a:cubicBezTo>
                      <a:pt x="9350" y="703096"/>
                      <a:pt x="37399" y="706836"/>
                      <a:pt x="43944" y="677852"/>
                    </a:cubicBezTo>
                    <a:cubicBezTo>
                      <a:pt x="50489" y="648868"/>
                      <a:pt x="20570" y="581551"/>
                      <a:pt x="43944" y="543217"/>
                    </a:cubicBezTo>
                    <a:cubicBezTo>
                      <a:pt x="67318" y="504883"/>
                      <a:pt x="73863" y="489924"/>
                      <a:pt x="184189" y="447850"/>
                    </a:cubicBezTo>
                    <a:cubicBezTo>
                      <a:pt x="294515" y="405776"/>
                      <a:pt x="618015" y="314149"/>
                      <a:pt x="705902" y="290775"/>
                    </a:cubicBezTo>
                    <a:cubicBezTo>
                      <a:pt x="793789" y="267401"/>
                      <a:pt x="686268" y="317890"/>
                      <a:pt x="711512" y="307605"/>
                    </a:cubicBezTo>
                    <a:cubicBezTo>
                      <a:pt x="736756" y="297320"/>
                      <a:pt x="795659" y="259921"/>
                      <a:pt x="857367" y="229067"/>
                    </a:cubicBezTo>
                    <a:cubicBezTo>
                      <a:pt x="919075" y="198213"/>
                      <a:pt x="1010702" y="152400"/>
                      <a:pt x="1081760" y="122481"/>
                    </a:cubicBezTo>
                    <a:cubicBezTo>
                      <a:pt x="1152818" y="92562"/>
                      <a:pt x="1166842" y="69187"/>
                      <a:pt x="1283713" y="49553"/>
                    </a:cubicBezTo>
                    <a:cubicBezTo>
                      <a:pt x="1400584" y="29919"/>
                      <a:pt x="1635262" y="9350"/>
                      <a:pt x="1782987" y="4675"/>
                    </a:cubicBezTo>
                    <a:cubicBezTo>
                      <a:pt x="1930712" y="0"/>
                      <a:pt x="2036364" y="10285"/>
                      <a:pt x="2170064" y="21504"/>
                    </a:cubicBezTo>
                    <a:cubicBezTo>
                      <a:pt x="2303765" y="32724"/>
                      <a:pt x="2475799" y="56098"/>
                      <a:pt x="2585190" y="71992"/>
                    </a:cubicBezTo>
                    <a:cubicBezTo>
                      <a:pt x="2694581" y="87887"/>
                      <a:pt x="2773119" y="109391"/>
                      <a:pt x="2826412" y="116871"/>
                    </a:cubicBezTo>
                    <a:cubicBezTo>
                      <a:pt x="2879705" y="124351"/>
                      <a:pt x="2897470" y="107521"/>
                      <a:pt x="2904950" y="116871"/>
                    </a:cubicBezTo>
                    <a:cubicBezTo>
                      <a:pt x="2912430" y="126221"/>
                      <a:pt x="2859137" y="139310"/>
                      <a:pt x="2871291" y="172969"/>
                    </a:cubicBezTo>
                    <a:cubicBezTo>
                      <a:pt x="2883445" y="206628"/>
                      <a:pt x="2951698" y="288905"/>
                      <a:pt x="2977877" y="318824"/>
                    </a:cubicBezTo>
                    <a:cubicBezTo>
                      <a:pt x="3004056" y="348743"/>
                      <a:pt x="3018081" y="312279"/>
                      <a:pt x="3028366" y="352483"/>
                    </a:cubicBezTo>
                    <a:cubicBezTo>
                      <a:pt x="3038651" y="392687"/>
                      <a:pt x="3024626" y="511428"/>
                      <a:pt x="3039585" y="560046"/>
                    </a:cubicBezTo>
                    <a:cubicBezTo>
                      <a:pt x="3054545" y="608665"/>
                      <a:pt x="3105033" y="600250"/>
                      <a:pt x="3118123" y="644194"/>
                    </a:cubicBezTo>
                    <a:cubicBezTo>
                      <a:pt x="3131213" y="688138"/>
                      <a:pt x="3126538" y="777895"/>
                      <a:pt x="3118123" y="823708"/>
                    </a:cubicBezTo>
                    <a:cubicBezTo>
                      <a:pt x="3109708" y="869522"/>
                      <a:pt x="3077919" y="892896"/>
                      <a:pt x="3067634" y="919075"/>
                    </a:cubicBezTo>
                    <a:cubicBezTo>
                      <a:pt x="3057349" y="945254"/>
                      <a:pt x="3058285" y="972368"/>
                      <a:pt x="3056415" y="980783"/>
                    </a:cubicBezTo>
                  </a:path>
                </a:pathLst>
              </a:custGeom>
              <a:noFill/>
              <a:ln w="38100" cap="flat" cmpd="sng" algn="ctr">
                <a:solidFill>
                  <a:schemeClr val="bg2">
                    <a:lumMod val="75000"/>
                  </a:schemeClr>
                </a:solidFill>
                <a:prstDash val="solid"/>
              </a:ln>
              <a:effectLst/>
            </p:spPr>
            <p:txBody>
              <a:bodyPr anchor="ctr"/>
              <a:lstStyle/>
              <a:p>
                <a:pPr eaLnBrk="0" hangingPunct="0">
                  <a:spcBef>
                    <a:spcPct val="50000"/>
                  </a:spcBef>
                  <a:defRPr/>
                </a:pPr>
                <a:endParaRPr lang="de-DE" kern="0" dirty="0">
                  <a:solidFill>
                    <a:srgbClr val="000000"/>
                  </a:solidFill>
                </a:endParaRPr>
              </a:p>
            </p:txBody>
          </p:sp>
          <p:sp>
            <p:nvSpPr>
              <p:cNvPr id="288" name="Freihandform 287"/>
              <p:cNvSpPr/>
              <p:nvPr/>
            </p:nvSpPr>
            <p:spPr>
              <a:xfrm>
                <a:off x="5714633" y="3377162"/>
                <a:ext cx="721540" cy="117855"/>
              </a:xfrm>
              <a:custGeom>
                <a:avLst/>
                <a:gdLst>
                  <a:gd name="connsiteX0" fmla="*/ 8415 w 1755873"/>
                  <a:gd name="connsiteY0" fmla="*/ 235612 h 280490"/>
                  <a:gd name="connsiteX1" fmla="*/ 131831 w 1755873"/>
                  <a:gd name="connsiteY1" fmla="*/ 280490 h 280490"/>
                  <a:gd name="connsiteX2" fmla="*/ 799399 w 1755873"/>
                  <a:gd name="connsiteY2" fmla="*/ 258051 h 280490"/>
                  <a:gd name="connsiteX3" fmla="*/ 1472577 w 1755873"/>
                  <a:gd name="connsiteY3" fmla="*/ 230002 h 280490"/>
                  <a:gd name="connsiteX4" fmla="*/ 1663310 w 1755873"/>
                  <a:gd name="connsiteY4" fmla="*/ 151465 h 280490"/>
                  <a:gd name="connsiteX5" fmla="*/ 1753068 w 1755873"/>
                  <a:gd name="connsiteY5" fmla="*/ 84147 h 280490"/>
                  <a:gd name="connsiteX6" fmla="*/ 1680140 w 1755873"/>
                  <a:gd name="connsiteY6" fmla="*/ 0 h 280490"/>
                  <a:gd name="connsiteX0" fmla="*/ 8415 w 1755873"/>
                  <a:gd name="connsiteY0" fmla="*/ 235612 h 280490"/>
                  <a:gd name="connsiteX1" fmla="*/ 131831 w 1755873"/>
                  <a:gd name="connsiteY1" fmla="*/ 280490 h 280490"/>
                  <a:gd name="connsiteX2" fmla="*/ 799399 w 1755873"/>
                  <a:gd name="connsiteY2" fmla="*/ 258051 h 280490"/>
                  <a:gd name="connsiteX3" fmla="*/ 1472577 w 1755873"/>
                  <a:gd name="connsiteY3" fmla="*/ 230002 h 280490"/>
                  <a:gd name="connsiteX4" fmla="*/ 1663310 w 1755873"/>
                  <a:gd name="connsiteY4" fmla="*/ 151465 h 280490"/>
                  <a:gd name="connsiteX5" fmla="*/ 1753068 w 1755873"/>
                  <a:gd name="connsiteY5" fmla="*/ 84147 h 280490"/>
                  <a:gd name="connsiteX6" fmla="*/ 1680140 w 1755873"/>
                  <a:gd name="connsiteY6" fmla="*/ 0 h 28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5873" h="280490">
                    <a:moveTo>
                      <a:pt x="8415" y="235612"/>
                    </a:moveTo>
                    <a:cubicBezTo>
                      <a:pt x="4207" y="256181"/>
                      <a:pt x="0" y="276750"/>
                      <a:pt x="131831" y="280490"/>
                    </a:cubicBezTo>
                    <a:lnTo>
                      <a:pt x="799399" y="258051"/>
                    </a:lnTo>
                    <a:cubicBezTo>
                      <a:pt x="1022857" y="249636"/>
                      <a:pt x="1328592" y="247766"/>
                      <a:pt x="1472577" y="230002"/>
                    </a:cubicBezTo>
                    <a:lnTo>
                      <a:pt x="1663310" y="151465"/>
                    </a:lnTo>
                    <a:cubicBezTo>
                      <a:pt x="1710059" y="127156"/>
                      <a:pt x="1750263" y="109391"/>
                      <a:pt x="1753068" y="84147"/>
                    </a:cubicBezTo>
                    <a:cubicBezTo>
                      <a:pt x="1755873" y="58903"/>
                      <a:pt x="1704449" y="17764"/>
                      <a:pt x="1680140" y="0"/>
                    </a:cubicBezTo>
                  </a:path>
                </a:pathLst>
              </a:custGeom>
              <a:noFill/>
              <a:ln w="19050" cap="flat" cmpd="sng" algn="ctr">
                <a:solidFill>
                  <a:schemeClr val="bg2">
                    <a:lumMod val="75000"/>
                  </a:schemeClr>
                </a:solidFill>
                <a:prstDash val="solid"/>
              </a:ln>
              <a:effectLst/>
            </p:spPr>
            <p:txBody>
              <a:bodyPr anchor="ctr"/>
              <a:lstStyle/>
              <a:p>
                <a:pPr eaLnBrk="0" hangingPunct="0">
                  <a:spcBef>
                    <a:spcPct val="50000"/>
                  </a:spcBef>
                  <a:defRPr/>
                </a:pPr>
                <a:endParaRPr lang="de-DE" kern="0" dirty="0">
                  <a:solidFill>
                    <a:srgbClr val="000000"/>
                  </a:solidFill>
                </a:endParaRPr>
              </a:p>
            </p:txBody>
          </p:sp>
        </p:grpSp>
        <p:sp>
          <p:nvSpPr>
            <p:cNvPr id="283" name="Textfeld 111"/>
            <p:cNvSpPr txBox="1">
              <a:spLocks noChangeArrowheads="1"/>
            </p:cNvSpPr>
            <p:nvPr/>
          </p:nvSpPr>
          <p:spPr bwMode="auto">
            <a:xfrm>
              <a:off x="7665690" y="3604155"/>
              <a:ext cx="861538" cy="288987"/>
            </a:xfrm>
            <a:prstGeom prst="rect">
              <a:avLst/>
            </a:prstGeom>
            <a:noFill/>
            <a:ln w="9525">
              <a:noFill/>
              <a:miter lim="800000"/>
              <a:headEnd/>
              <a:tailEnd/>
            </a:ln>
          </p:spPr>
          <p:txBody>
            <a:bodyPr wrap="square">
              <a:spAutoFit/>
            </a:bodyPr>
            <a:lstStyle/>
            <a:p>
              <a:r>
                <a:rPr lang="de-DE" sz="800" b="1" dirty="0" smtClean="0">
                  <a:solidFill>
                    <a:srgbClr val="000000"/>
                  </a:solidFill>
                </a:rPr>
                <a:t>PVL/VS0</a:t>
              </a:r>
            </a:p>
          </p:txBody>
        </p:sp>
      </p:grpSp>
      <p:grpSp>
        <p:nvGrpSpPr>
          <p:cNvPr id="28" name="Gruppieren 48"/>
          <p:cNvGrpSpPr>
            <a:grpSpLocks/>
          </p:cNvGrpSpPr>
          <p:nvPr/>
        </p:nvGrpSpPr>
        <p:grpSpPr bwMode="auto">
          <a:xfrm flipH="1">
            <a:off x="3487778" y="3654703"/>
            <a:ext cx="792162" cy="323850"/>
            <a:chOff x="7527943" y="3505711"/>
            <a:chExt cx="1184726" cy="434397"/>
          </a:xfrm>
        </p:grpSpPr>
        <p:grpSp>
          <p:nvGrpSpPr>
            <p:cNvPr id="29" name="Gruppieren 265"/>
            <p:cNvGrpSpPr>
              <a:grpSpLocks noChangeAspect="1"/>
            </p:cNvGrpSpPr>
            <p:nvPr/>
          </p:nvGrpSpPr>
          <p:grpSpPr bwMode="auto">
            <a:xfrm>
              <a:off x="7527943" y="3505711"/>
              <a:ext cx="1184726" cy="434397"/>
              <a:chOff x="5364171" y="3314767"/>
              <a:chExt cx="1285886" cy="471423"/>
            </a:xfrm>
          </p:grpSpPr>
          <p:sp>
            <p:nvSpPr>
              <p:cNvPr id="246" name="Ellipse 245"/>
              <p:cNvSpPr/>
              <p:nvPr/>
            </p:nvSpPr>
            <p:spPr>
              <a:xfrm>
                <a:off x="5467248" y="3566656"/>
                <a:ext cx="229346" cy="219534"/>
              </a:xfrm>
              <a:prstGeom prst="ellipse">
                <a:avLst/>
              </a:prstGeom>
              <a:noFill/>
              <a:ln w="38100" cap="flat" cmpd="sng" algn="ctr">
                <a:solidFill>
                  <a:schemeClr val="bg2">
                    <a:lumMod val="75000"/>
                  </a:schemeClr>
                </a:solidFill>
                <a:prstDash val="solid"/>
              </a:ln>
              <a:effectLst/>
            </p:spPr>
            <p:txBody>
              <a:bodyPr anchor="ctr"/>
              <a:lstStyle/>
              <a:p>
                <a:pPr eaLnBrk="0" hangingPunct="0">
                  <a:spcBef>
                    <a:spcPct val="50000"/>
                  </a:spcBef>
                  <a:defRPr/>
                </a:pPr>
                <a:endParaRPr lang="de-DE" kern="0" dirty="0">
                  <a:solidFill>
                    <a:srgbClr val="000000"/>
                  </a:solidFill>
                </a:endParaRPr>
              </a:p>
            </p:txBody>
          </p:sp>
          <p:sp>
            <p:nvSpPr>
              <p:cNvPr id="247" name="Ellipse 36"/>
              <p:cNvSpPr/>
              <p:nvPr/>
            </p:nvSpPr>
            <p:spPr>
              <a:xfrm>
                <a:off x="6294441" y="3566656"/>
                <a:ext cx="229347" cy="219534"/>
              </a:xfrm>
              <a:prstGeom prst="ellipse">
                <a:avLst/>
              </a:prstGeom>
              <a:noFill/>
              <a:ln w="38100" cap="flat" cmpd="sng" algn="ctr">
                <a:solidFill>
                  <a:schemeClr val="bg2">
                    <a:lumMod val="75000"/>
                  </a:schemeClr>
                </a:solidFill>
                <a:prstDash val="solid"/>
              </a:ln>
              <a:effectLst/>
            </p:spPr>
            <p:txBody>
              <a:bodyPr anchor="ctr"/>
              <a:lstStyle/>
              <a:p>
                <a:pPr eaLnBrk="0" hangingPunct="0">
                  <a:spcBef>
                    <a:spcPct val="50000"/>
                  </a:spcBef>
                  <a:defRPr/>
                </a:pPr>
                <a:endParaRPr lang="de-DE" kern="0" dirty="0">
                  <a:solidFill>
                    <a:srgbClr val="000000"/>
                  </a:solidFill>
                </a:endParaRPr>
              </a:p>
            </p:txBody>
          </p:sp>
          <p:cxnSp>
            <p:nvCxnSpPr>
              <p:cNvPr id="248" name="Gerade Verbindung 13"/>
              <p:cNvCxnSpPr>
                <a:cxnSpLocks noChangeShapeType="1"/>
              </p:cNvCxnSpPr>
              <p:nvPr/>
            </p:nvCxnSpPr>
            <p:spPr bwMode="auto">
              <a:xfrm flipV="1">
                <a:off x="5748132" y="3668335"/>
                <a:ext cx="510232" cy="30041"/>
              </a:xfrm>
              <a:prstGeom prst="line">
                <a:avLst/>
              </a:prstGeom>
              <a:noFill/>
              <a:ln w="19050" algn="ctr">
                <a:solidFill>
                  <a:schemeClr val="bg2">
                    <a:lumMod val="75000"/>
                  </a:schemeClr>
                </a:solidFill>
                <a:round/>
                <a:headEnd/>
                <a:tailEnd/>
              </a:ln>
            </p:spPr>
          </p:cxnSp>
          <p:sp>
            <p:nvSpPr>
              <p:cNvPr id="249" name="Freihandform 248"/>
              <p:cNvSpPr/>
              <p:nvPr/>
            </p:nvSpPr>
            <p:spPr>
              <a:xfrm>
                <a:off x="5364171" y="3314767"/>
                <a:ext cx="1285886" cy="409030"/>
              </a:xfrm>
              <a:custGeom>
                <a:avLst/>
                <a:gdLst>
                  <a:gd name="connsiteX0" fmla="*/ 15895 w 3131213"/>
                  <a:gd name="connsiteY0" fmla="*/ 992002 h 992002"/>
                  <a:gd name="connsiteX1" fmla="*/ 10285 w 3131213"/>
                  <a:gd name="connsiteY1" fmla="*/ 879806 h 992002"/>
                  <a:gd name="connsiteX2" fmla="*/ 15895 w 3131213"/>
                  <a:gd name="connsiteY2" fmla="*/ 762000 h 992002"/>
                  <a:gd name="connsiteX3" fmla="*/ 4675 w 3131213"/>
                  <a:gd name="connsiteY3" fmla="*/ 717121 h 992002"/>
                  <a:gd name="connsiteX4" fmla="*/ 43944 w 3131213"/>
                  <a:gd name="connsiteY4" fmla="*/ 677852 h 992002"/>
                  <a:gd name="connsiteX5" fmla="*/ 43944 w 3131213"/>
                  <a:gd name="connsiteY5" fmla="*/ 543217 h 992002"/>
                  <a:gd name="connsiteX6" fmla="*/ 184189 w 3131213"/>
                  <a:gd name="connsiteY6" fmla="*/ 447850 h 992002"/>
                  <a:gd name="connsiteX7" fmla="*/ 705902 w 3131213"/>
                  <a:gd name="connsiteY7" fmla="*/ 290775 h 992002"/>
                  <a:gd name="connsiteX8" fmla="*/ 711512 w 3131213"/>
                  <a:gd name="connsiteY8" fmla="*/ 307605 h 992002"/>
                  <a:gd name="connsiteX9" fmla="*/ 857367 w 3131213"/>
                  <a:gd name="connsiteY9" fmla="*/ 229067 h 992002"/>
                  <a:gd name="connsiteX10" fmla="*/ 1081760 w 3131213"/>
                  <a:gd name="connsiteY10" fmla="*/ 122481 h 992002"/>
                  <a:gd name="connsiteX11" fmla="*/ 1283713 w 3131213"/>
                  <a:gd name="connsiteY11" fmla="*/ 49553 h 992002"/>
                  <a:gd name="connsiteX12" fmla="*/ 1782987 w 3131213"/>
                  <a:gd name="connsiteY12" fmla="*/ 4675 h 992002"/>
                  <a:gd name="connsiteX13" fmla="*/ 2170064 w 3131213"/>
                  <a:gd name="connsiteY13" fmla="*/ 21504 h 992002"/>
                  <a:gd name="connsiteX14" fmla="*/ 2585190 w 3131213"/>
                  <a:gd name="connsiteY14" fmla="*/ 71992 h 992002"/>
                  <a:gd name="connsiteX15" fmla="*/ 2826412 w 3131213"/>
                  <a:gd name="connsiteY15" fmla="*/ 116871 h 992002"/>
                  <a:gd name="connsiteX16" fmla="*/ 2904950 w 3131213"/>
                  <a:gd name="connsiteY16" fmla="*/ 116871 h 992002"/>
                  <a:gd name="connsiteX17" fmla="*/ 2871291 w 3131213"/>
                  <a:gd name="connsiteY17" fmla="*/ 172969 h 992002"/>
                  <a:gd name="connsiteX18" fmla="*/ 2977877 w 3131213"/>
                  <a:gd name="connsiteY18" fmla="*/ 318824 h 992002"/>
                  <a:gd name="connsiteX19" fmla="*/ 3028366 w 3131213"/>
                  <a:gd name="connsiteY19" fmla="*/ 352483 h 992002"/>
                  <a:gd name="connsiteX20" fmla="*/ 3039585 w 3131213"/>
                  <a:gd name="connsiteY20" fmla="*/ 560046 h 992002"/>
                  <a:gd name="connsiteX21" fmla="*/ 3118123 w 3131213"/>
                  <a:gd name="connsiteY21" fmla="*/ 644194 h 992002"/>
                  <a:gd name="connsiteX22" fmla="*/ 3118123 w 3131213"/>
                  <a:gd name="connsiteY22" fmla="*/ 823708 h 992002"/>
                  <a:gd name="connsiteX23" fmla="*/ 3067634 w 3131213"/>
                  <a:gd name="connsiteY23" fmla="*/ 919075 h 992002"/>
                  <a:gd name="connsiteX24" fmla="*/ 3056415 w 3131213"/>
                  <a:gd name="connsiteY24" fmla="*/ 980783 h 99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31213" h="992002">
                    <a:moveTo>
                      <a:pt x="15895" y="992002"/>
                    </a:moveTo>
                    <a:cubicBezTo>
                      <a:pt x="13090" y="955071"/>
                      <a:pt x="10285" y="918140"/>
                      <a:pt x="10285" y="879806"/>
                    </a:cubicBezTo>
                    <a:cubicBezTo>
                      <a:pt x="10285" y="841472"/>
                      <a:pt x="16830" y="789114"/>
                      <a:pt x="15895" y="762000"/>
                    </a:cubicBezTo>
                    <a:cubicBezTo>
                      <a:pt x="14960" y="734886"/>
                      <a:pt x="0" y="731146"/>
                      <a:pt x="4675" y="717121"/>
                    </a:cubicBezTo>
                    <a:cubicBezTo>
                      <a:pt x="9350" y="703096"/>
                      <a:pt x="37399" y="706836"/>
                      <a:pt x="43944" y="677852"/>
                    </a:cubicBezTo>
                    <a:cubicBezTo>
                      <a:pt x="50489" y="648868"/>
                      <a:pt x="20570" y="581551"/>
                      <a:pt x="43944" y="543217"/>
                    </a:cubicBezTo>
                    <a:cubicBezTo>
                      <a:pt x="67318" y="504883"/>
                      <a:pt x="73863" y="489924"/>
                      <a:pt x="184189" y="447850"/>
                    </a:cubicBezTo>
                    <a:cubicBezTo>
                      <a:pt x="294515" y="405776"/>
                      <a:pt x="618015" y="314149"/>
                      <a:pt x="705902" y="290775"/>
                    </a:cubicBezTo>
                    <a:cubicBezTo>
                      <a:pt x="793789" y="267401"/>
                      <a:pt x="686268" y="317890"/>
                      <a:pt x="711512" y="307605"/>
                    </a:cubicBezTo>
                    <a:cubicBezTo>
                      <a:pt x="736756" y="297320"/>
                      <a:pt x="795659" y="259921"/>
                      <a:pt x="857367" y="229067"/>
                    </a:cubicBezTo>
                    <a:cubicBezTo>
                      <a:pt x="919075" y="198213"/>
                      <a:pt x="1010702" y="152400"/>
                      <a:pt x="1081760" y="122481"/>
                    </a:cubicBezTo>
                    <a:cubicBezTo>
                      <a:pt x="1152818" y="92562"/>
                      <a:pt x="1166842" y="69187"/>
                      <a:pt x="1283713" y="49553"/>
                    </a:cubicBezTo>
                    <a:cubicBezTo>
                      <a:pt x="1400584" y="29919"/>
                      <a:pt x="1635262" y="9350"/>
                      <a:pt x="1782987" y="4675"/>
                    </a:cubicBezTo>
                    <a:cubicBezTo>
                      <a:pt x="1930712" y="0"/>
                      <a:pt x="2036364" y="10285"/>
                      <a:pt x="2170064" y="21504"/>
                    </a:cubicBezTo>
                    <a:cubicBezTo>
                      <a:pt x="2303765" y="32724"/>
                      <a:pt x="2475799" y="56098"/>
                      <a:pt x="2585190" y="71992"/>
                    </a:cubicBezTo>
                    <a:cubicBezTo>
                      <a:pt x="2694581" y="87887"/>
                      <a:pt x="2773119" y="109391"/>
                      <a:pt x="2826412" y="116871"/>
                    </a:cubicBezTo>
                    <a:cubicBezTo>
                      <a:pt x="2879705" y="124351"/>
                      <a:pt x="2897470" y="107521"/>
                      <a:pt x="2904950" y="116871"/>
                    </a:cubicBezTo>
                    <a:cubicBezTo>
                      <a:pt x="2912430" y="126221"/>
                      <a:pt x="2859137" y="139310"/>
                      <a:pt x="2871291" y="172969"/>
                    </a:cubicBezTo>
                    <a:cubicBezTo>
                      <a:pt x="2883445" y="206628"/>
                      <a:pt x="2951698" y="288905"/>
                      <a:pt x="2977877" y="318824"/>
                    </a:cubicBezTo>
                    <a:cubicBezTo>
                      <a:pt x="3004056" y="348743"/>
                      <a:pt x="3018081" y="312279"/>
                      <a:pt x="3028366" y="352483"/>
                    </a:cubicBezTo>
                    <a:cubicBezTo>
                      <a:pt x="3038651" y="392687"/>
                      <a:pt x="3024626" y="511428"/>
                      <a:pt x="3039585" y="560046"/>
                    </a:cubicBezTo>
                    <a:cubicBezTo>
                      <a:pt x="3054545" y="608665"/>
                      <a:pt x="3105033" y="600250"/>
                      <a:pt x="3118123" y="644194"/>
                    </a:cubicBezTo>
                    <a:cubicBezTo>
                      <a:pt x="3131213" y="688138"/>
                      <a:pt x="3126538" y="777895"/>
                      <a:pt x="3118123" y="823708"/>
                    </a:cubicBezTo>
                    <a:cubicBezTo>
                      <a:pt x="3109708" y="869522"/>
                      <a:pt x="3077919" y="892896"/>
                      <a:pt x="3067634" y="919075"/>
                    </a:cubicBezTo>
                    <a:cubicBezTo>
                      <a:pt x="3057349" y="945254"/>
                      <a:pt x="3058285" y="972368"/>
                      <a:pt x="3056415" y="980783"/>
                    </a:cubicBezTo>
                  </a:path>
                </a:pathLst>
              </a:custGeom>
              <a:noFill/>
              <a:ln w="38100" cap="flat" cmpd="sng" algn="ctr">
                <a:solidFill>
                  <a:schemeClr val="bg2">
                    <a:lumMod val="75000"/>
                  </a:schemeClr>
                </a:solidFill>
                <a:prstDash val="solid"/>
              </a:ln>
              <a:effectLst/>
            </p:spPr>
            <p:txBody>
              <a:bodyPr anchor="ctr"/>
              <a:lstStyle/>
              <a:p>
                <a:pPr eaLnBrk="0" hangingPunct="0">
                  <a:spcBef>
                    <a:spcPct val="50000"/>
                  </a:spcBef>
                  <a:defRPr/>
                </a:pPr>
                <a:endParaRPr lang="de-DE" kern="0" dirty="0">
                  <a:solidFill>
                    <a:srgbClr val="000000"/>
                  </a:solidFill>
                </a:endParaRPr>
              </a:p>
            </p:txBody>
          </p:sp>
          <p:sp>
            <p:nvSpPr>
              <p:cNvPr id="250" name="Freihandform 249"/>
              <p:cNvSpPr/>
              <p:nvPr/>
            </p:nvSpPr>
            <p:spPr>
              <a:xfrm>
                <a:off x="5714633" y="3377162"/>
                <a:ext cx="721540" cy="117855"/>
              </a:xfrm>
              <a:custGeom>
                <a:avLst/>
                <a:gdLst>
                  <a:gd name="connsiteX0" fmla="*/ 8415 w 1755873"/>
                  <a:gd name="connsiteY0" fmla="*/ 235612 h 280490"/>
                  <a:gd name="connsiteX1" fmla="*/ 131831 w 1755873"/>
                  <a:gd name="connsiteY1" fmla="*/ 280490 h 280490"/>
                  <a:gd name="connsiteX2" fmla="*/ 799399 w 1755873"/>
                  <a:gd name="connsiteY2" fmla="*/ 258051 h 280490"/>
                  <a:gd name="connsiteX3" fmla="*/ 1472577 w 1755873"/>
                  <a:gd name="connsiteY3" fmla="*/ 230002 h 280490"/>
                  <a:gd name="connsiteX4" fmla="*/ 1663310 w 1755873"/>
                  <a:gd name="connsiteY4" fmla="*/ 151465 h 280490"/>
                  <a:gd name="connsiteX5" fmla="*/ 1753068 w 1755873"/>
                  <a:gd name="connsiteY5" fmla="*/ 84147 h 280490"/>
                  <a:gd name="connsiteX6" fmla="*/ 1680140 w 1755873"/>
                  <a:gd name="connsiteY6" fmla="*/ 0 h 280490"/>
                  <a:gd name="connsiteX0" fmla="*/ 8415 w 1755873"/>
                  <a:gd name="connsiteY0" fmla="*/ 235612 h 280490"/>
                  <a:gd name="connsiteX1" fmla="*/ 131831 w 1755873"/>
                  <a:gd name="connsiteY1" fmla="*/ 280490 h 280490"/>
                  <a:gd name="connsiteX2" fmla="*/ 799399 w 1755873"/>
                  <a:gd name="connsiteY2" fmla="*/ 258051 h 280490"/>
                  <a:gd name="connsiteX3" fmla="*/ 1472577 w 1755873"/>
                  <a:gd name="connsiteY3" fmla="*/ 230002 h 280490"/>
                  <a:gd name="connsiteX4" fmla="*/ 1663310 w 1755873"/>
                  <a:gd name="connsiteY4" fmla="*/ 151465 h 280490"/>
                  <a:gd name="connsiteX5" fmla="*/ 1753068 w 1755873"/>
                  <a:gd name="connsiteY5" fmla="*/ 84147 h 280490"/>
                  <a:gd name="connsiteX6" fmla="*/ 1680140 w 1755873"/>
                  <a:gd name="connsiteY6" fmla="*/ 0 h 28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5873" h="280490">
                    <a:moveTo>
                      <a:pt x="8415" y="235612"/>
                    </a:moveTo>
                    <a:cubicBezTo>
                      <a:pt x="4207" y="256181"/>
                      <a:pt x="0" y="276750"/>
                      <a:pt x="131831" y="280490"/>
                    </a:cubicBezTo>
                    <a:lnTo>
                      <a:pt x="799399" y="258051"/>
                    </a:lnTo>
                    <a:cubicBezTo>
                      <a:pt x="1022857" y="249636"/>
                      <a:pt x="1328592" y="247766"/>
                      <a:pt x="1472577" y="230002"/>
                    </a:cubicBezTo>
                    <a:lnTo>
                      <a:pt x="1663310" y="151465"/>
                    </a:lnTo>
                    <a:cubicBezTo>
                      <a:pt x="1710059" y="127156"/>
                      <a:pt x="1750263" y="109391"/>
                      <a:pt x="1753068" y="84147"/>
                    </a:cubicBezTo>
                    <a:cubicBezTo>
                      <a:pt x="1755873" y="58903"/>
                      <a:pt x="1704449" y="17764"/>
                      <a:pt x="1680140" y="0"/>
                    </a:cubicBezTo>
                  </a:path>
                </a:pathLst>
              </a:custGeom>
              <a:noFill/>
              <a:ln w="19050" cap="flat" cmpd="sng" algn="ctr">
                <a:solidFill>
                  <a:schemeClr val="bg2">
                    <a:lumMod val="75000"/>
                  </a:schemeClr>
                </a:solidFill>
                <a:prstDash val="solid"/>
              </a:ln>
              <a:effectLst/>
            </p:spPr>
            <p:txBody>
              <a:bodyPr anchor="ctr"/>
              <a:lstStyle/>
              <a:p>
                <a:pPr eaLnBrk="0" hangingPunct="0">
                  <a:spcBef>
                    <a:spcPct val="50000"/>
                  </a:spcBef>
                  <a:defRPr/>
                </a:pPr>
                <a:endParaRPr lang="de-DE" kern="0" dirty="0">
                  <a:solidFill>
                    <a:srgbClr val="000000"/>
                  </a:solidFill>
                </a:endParaRPr>
              </a:p>
            </p:txBody>
          </p:sp>
        </p:grpSp>
        <p:sp>
          <p:nvSpPr>
            <p:cNvPr id="245" name="Textfeld 95"/>
            <p:cNvSpPr txBox="1">
              <a:spLocks noChangeArrowheads="1"/>
            </p:cNvSpPr>
            <p:nvPr/>
          </p:nvSpPr>
          <p:spPr bwMode="auto">
            <a:xfrm>
              <a:off x="7813462" y="3604141"/>
              <a:ext cx="576064" cy="288853"/>
            </a:xfrm>
            <a:prstGeom prst="rect">
              <a:avLst/>
            </a:prstGeom>
            <a:noFill/>
            <a:ln w="9525">
              <a:noFill/>
              <a:miter lim="800000"/>
              <a:headEnd/>
              <a:tailEnd/>
            </a:ln>
          </p:spPr>
          <p:txBody>
            <a:bodyPr>
              <a:spAutoFit/>
            </a:bodyPr>
            <a:lstStyle/>
            <a:p>
              <a:r>
                <a:rPr lang="de-DE" sz="800" b="1" dirty="0">
                  <a:solidFill>
                    <a:srgbClr val="000000"/>
                  </a:solidFill>
                </a:rPr>
                <a:t>MT</a:t>
              </a:r>
            </a:p>
          </p:txBody>
        </p:sp>
      </p:grpSp>
      <p:grpSp>
        <p:nvGrpSpPr>
          <p:cNvPr id="30" name="Gruppieren 48"/>
          <p:cNvGrpSpPr>
            <a:grpSpLocks/>
          </p:cNvGrpSpPr>
          <p:nvPr/>
        </p:nvGrpSpPr>
        <p:grpSpPr bwMode="auto">
          <a:xfrm flipH="1">
            <a:off x="7524328" y="3657867"/>
            <a:ext cx="792162" cy="323849"/>
            <a:chOff x="7527943" y="3505711"/>
            <a:chExt cx="1184726" cy="434397"/>
          </a:xfrm>
        </p:grpSpPr>
        <p:grpSp>
          <p:nvGrpSpPr>
            <p:cNvPr id="31" name="Gruppieren 265"/>
            <p:cNvGrpSpPr>
              <a:grpSpLocks noChangeAspect="1"/>
            </p:cNvGrpSpPr>
            <p:nvPr/>
          </p:nvGrpSpPr>
          <p:grpSpPr bwMode="auto">
            <a:xfrm>
              <a:off x="7527943" y="3505711"/>
              <a:ext cx="1184726" cy="434397"/>
              <a:chOff x="5364171" y="3314767"/>
              <a:chExt cx="1285886" cy="471423"/>
            </a:xfrm>
          </p:grpSpPr>
          <p:sp>
            <p:nvSpPr>
              <p:cNvPr id="297" name="Ellipse 296"/>
              <p:cNvSpPr/>
              <p:nvPr/>
            </p:nvSpPr>
            <p:spPr>
              <a:xfrm>
                <a:off x="5467248" y="3566656"/>
                <a:ext cx="229346" cy="219534"/>
              </a:xfrm>
              <a:prstGeom prst="ellipse">
                <a:avLst/>
              </a:prstGeom>
              <a:noFill/>
              <a:ln w="38100" cap="flat" cmpd="sng" algn="ctr">
                <a:solidFill>
                  <a:schemeClr val="bg2">
                    <a:lumMod val="75000"/>
                  </a:schemeClr>
                </a:solidFill>
                <a:prstDash val="solid"/>
              </a:ln>
              <a:effectLst/>
            </p:spPr>
            <p:txBody>
              <a:bodyPr anchor="ctr"/>
              <a:lstStyle/>
              <a:p>
                <a:pPr eaLnBrk="0" hangingPunct="0">
                  <a:spcBef>
                    <a:spcPct val="50000"/>
                  </a:spcBef>
                  <a:defRPr/>
                </a:pPr>
                <a:endParaRPr lang="de-DE" kern="0" dirty="0">
                  <a:solidFill>
                    <a:srgbClr val="000000"/>
                  </a:solidFill>
                </a:endParaRPr>
              </a:p>
            </p:txBody>
          </p:sp>
          <p:sp>
            <p:nvSpPr>
              <p:cNvPr id="298" name="Ellipse 36"/>
              <p:cNvSpPr/>
              <p:nvPr/>
            </p:nvSpPr>
            <p:spPr>
              <a:xfrm>
                <a:off x="6316595" y="3566656"/>
                <a:ext cx="229347" cy="219534"/>
              </a:xfrm>
              <a:prstGeom prst="ellipse">
                <a:avLst/>
              </a:prstGeom>
              <a:noFill/>
              <a:ln w="38100" cap="flat" cmpd="sng" algn="ctr">
                <a:solidFill>
                  <a:schemeClr val="bg2">
                    <a:lumMod val="75000"/>
                  </a:schemeClr>
                </a:solidFill>
                <a:prstDash val="solid"/>
              </a:ln>
              <a:effectLst/>
            </p:spPr>
            <p:txBody>
              <a:bodyPr anchor="ctr"/>
              <a:lstStyle/>
              <a:p>
                <a:pPr eaLnBrk="0" hangingPunct="0">
                  <a:spcBef>
                    <a:spcPct val="50000"/>
                  </a:spcBef>
                  <a:defRPr/>
                </a:pPr>
                <a:endParaRPr lang="de-DE" kern="0" dirty="0">
                  <a:solidFill>
                    <a:srgbClr val="000000"/>
                  </a:solidFill>
                </a:endParaRPr>
              </a:p>
            </p:txBody>
          </p:sp>
          <p:cxnSp>
            <p:nvCxnSpPr>
              <p:cNvPr id="299" name="Gerade Verbindung 13"/>
              <p:cNvCxnSpPr>
                <a:cxnSpLocks noChangeShapeType="1"/>
              </p:cNvCxnSpPr>
              <p:nvPr/>
            </p:nvCxnSpPr>
            <p:spPr bwMode="auto">
              <a:xfrm flipV="1">
                <a:off x="5759210" y="3668335"/>
                <a:ext cx="510232" cy="30041"/>
              </a:xfrm>
              <a:prstGeom prst="line">
                <a:avLst/>
              </a:prstGeom>
              <a:noFill/>
              <a:ln w="19050" algn="ctr">
                <a:solidFill>
                  <a:schemeClr val="bg2">
                    <a:lumMod val="75000"/>
                  </a:schemeClr>
                </a:solidFill>
                <a:round/>
                <a:headEnd/>
                <a:tailEnd/>
              </a:ln>
            </p:spPr>
          </p:cxnSp>
          <p:sp>
            <p:nvSpPr>
              <p:cNvPr id="300" name="Freihandform 299"/>
              <p:cNvSpPr/>
              <p:nvPr/>
            </p:nvSpPr>
            <p:spPr>
              <a:xfrm>
                <a:off x="5364171" y="3314767"/>
                <a:ext cx="1285886" cy="409030"/>
              </a:xfrm>
              <a:custGeom>
                <a:avLst/>
                <a:gdLst>
                  <a:gd name="connsiteX0" fmla="*/ 15895 w 3131213"/>
                  <a:gd name="connsiteY0" fmla="*/ 992002 h 992002"/>
                  <a:gd name="connsiteX1" fmla="*/ 10285 w 3131213"/>
                  <a:gd name="connsiteY1" fmla="*/ 879806 h 992002"/>
                  <a:gd name="connsiteX2" fmla="*/ 15895 w 3131213"/>
                  <a:gd name="connsiteY2" fmla="*/ 762000 h 992002"/>
                  <a:gd name="connsiteX3" fmla="*/ 4675 w 3131213"/>
                  <a:gd name="connsiteY3" fmla="*/ 717121 h 992002"/>
                  <a:gd name="connsiteX4" fmla="*/ 43944 w 3131213"/>
                  <a:gd name="connsiteY4" fmla="*/ 677852 h 992002"/>
                  <a:gd name="connsiteX5" fmla="*/ 43944 w 3131213"/>
                  <a:gd name="connsiteY5" fmla="*/ 543217 h 992002"/>
                  <a:gd name="connsiteX6" fmla="*/ 184189 w 3131213"/>
                  <a:gd name="connsiteY6" fmla="*/ 447850 h 992002"/>
                  <a:gd name="connsiteX7" fmla="*/ 705902 w 3131213"/>
                  <a:gd name="connsiteY7" fmla="*/ 290775 h 992002"/>
                  <a:gd name="connsiteX8" fmla="*/ 711512 w 3131213"/>
                  <a:gd name="connsiteY8" fmla="*/ 307605 h 992002"/>
                  <a:gd name="connsiteX9" fmla="*/ 857367 w 3131213"/>
                  <a:gd name="connsiteY9" fmla="*/ 229067 h 992002"/>
                  <a:gd name="connsiteX10" fmla="*/ 1081760 w 3131213"/>
                  <a:gd name="connsiteY10" fmla="*/ 122481 h 992002"/>
                  <a:gd name="connsiteX11" fmla="*/ 1283713 w 3131213"/>
                  <a:gd name="connsiteY11" fmla="*/ 49553 h 992002"/>
                  <a:gd name="connsiteX12" fmla="*/ 1782987 w 3131213"/>
                  <a:gd name="connsiteY12" fmla="*/ 4675 h 992002"/>
                  <a:gd name="connsiteX13" fmla="*/ 2170064 w 3131213"/>
                  <a:gd name="connsiteY13" fmla="*/ 21504 h 992002"/>
                  <a:gd name="connsiteX14" fmla="*/ 2585190 w 3131213"/>
                  <a:gd name="connsiteY14" fmla="*/ 71992 h 992002"/>
                  <a:gd name="connsiteX15" fmla="*/ 2826412 w 3131213"/>
                  <a:gd name="connsiteY15" fmla="*/ 116871 h 992002"/>
                  <a:gd name="connsiteX16" fmla="*/ 2904950 w 3131213"/>
                  <a:gd name="connsiteY16" fmla="*/ 116871 h 992002"/>
                  <a:gd name="connsiteX17" fmla="*/ 2871291 w 3131213"/>
                  <a:gd name="connsiteY17" fmla="*/ 172969 h 992002"/>
                  <a:gd name="connsiteX18" fmla="*/ 2977877 w 3131213"/>
                  <a:gd name="connsiteY18" fmla="*/ 318824 h 992002"/>
                  <a:gd name="connsiteX19" fmla="*/ 3028366 w 3131213"/>
                  <a:gd name="connsiteY19" fmla="*/ 352483 h 992002"/>
                  <a:gd name="connsiteX20" fmla="*/ 3039585 w 3131213"/>
                  <a:gd name="connsiteY20" fmla="*/ 560046 h 992002"/>
                  <a:gd name="connsiteX21" fmla="*/ 3118123 w 3131213"/>
                  <a:gd name="connsiteY21" fmla="*/ 644194 h 992002"/>
                  <a:gd name="connsiteX22" fmla="*/ 3118123 w 3131213"/>
                  <a:gd name="connsiteY22" fmla="*/ 823708 h 992002"/>
                  <a:gd name="connsiteX23" fmla="*/ 3067634 w 3131213"/>
                  <a:gd name="connsiteY23" fmla="*/ 919075 h 992002"/>
                  <a:gd name="connsiteX24" fmla="*/ 3056415 w 3131213"/>
                  <a:gd name="connsiteY24" fmla="*/ 980783 h 99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31213" h="992002">
                    <a:moveTo>
                      <a:pt x="15895" y="992002"/>
                    </a:moveTo>
                    <a:cubicBezTo>
                      <a:pt x="13090" y="955071"/>
                      <a:pt x="10285" y="918140"/>
                      <a:pt x="10285" y="879806"/>
                    </a:cubicBezTo>
                    <a:cubicBezTo>
                      <a:pt x="10285" y="841472"/>
                      <a:pt x="16830" y="789114"/>
                      <a:pt x="15895" y="762000"/>
                    </a:cubicBezTo>
                    <a:cubicBezTo>
                      <a:pt x="14960" y="734886"/>
                      <a:pt x="0" y="731146"/>
                      <a:pt x="4675" y="717121"/>
                    </a:cubicBezTo>
                    <a:cubicBezTo>
                      <a:pt x="9350" y="703096"/>
                      <a:pt x="37399" y="706836"/>
                      <a:pt x="43944" y="677852"/>
                    </a:cubicBezTo>
                    <a:cubicBezTo>
                      <a:pt x="50489" y="648868"/>
                      <a:pt x="20570" y="581551"/>
                      <a:pt x="43944" y="543217"/>
                    </a:cubicBezTo>
                    <a:cubicBezTo>
                      <a:pt x="67318" y="504883"/>
                      <a:pt x="73863" y="489924"/>
                      <a:pt x="184189" y="447850"/>
                    </a:cubicBezTo>
                    <a:cubicBezTo>
                      <a:pt x="294515" y="405776"/>
                      <a:pt x="618015" y="314149"/>
                      <a:pt x="705902" y="290775"/>
                    </a:cubicBezTo>
                    <a:cubicBezTo>
                      <a:pt x="793789" y="267401"/>
                      <a:pt x="686268" y="317890"/>
                      <a:pt x="711512" y="307605"/>
                    </a:cubicBezTo>
                    <a:cubicBezTo>
                      <a:pt x="736756" y="297320"/>
                      <a:pt x="795659" y="259921"/>
                      <a:pt x="857367" y="229067"/>
                    </a:cubicBezTo>
                    <a:cubicBezTo>
                      <a:pt x="919075" y="198213"/>
                      <a:pt x="1010702" y="152400"/>
                      <a:pt x="1081760" y="122481"/>
                    </a:cubicBezTo>
                    <a:cubicBezTo>
                      <a:pt x="1152818" y="92562"/>
                      <a:pt x="1166842" y="69187"/>
                      <a:pt x="1283713" y="49553"/>
                    </a:cubicBezTo>
                    <a:cubicBezTo>
                      <a:pt x="1400584" y="29919"/>
                      <a:pt x="1635262" y="9350"/>
                      <a:pt x="1782987" y="4675"/>
                    </a:cubicBezTo>
                    <a:cubicBezTo>
                      <a:pt x="1930712" y="0"/>
                      <a:pt x="2036364" y="10285"/>
                      <a:pt x="2170064" y="21504"/>
                    </a:cubicBezTo>
                    <a:cubicBezTo>
                      <a:pt x="2303765" y="32724"/>
                      <a:pt x="2475799" y="56098"/>
                      <a:pt x="2585190" y="71992"/>
                    </a:cubicBezTo>
                    <a:cubicBezTo>
                      <a:pt x="2694581" y="87887"/>
                      <a:pt x="2773119" y="109391"/>
                      <a:pt x="2826412" y="116871"/>
                    </a:cubicBezTo>
                    <a:cubicBezTo>
                      <a:pt x="2879705" y="124351"/>
                      <a:pt x="2897470" y="107521"/>
                      <a:pt x="2904950" y="116871"/>
                    </a:cubicBezTo>
                    <a:cubicBezTo>
                      <a:pt x="2912430" y="126221"/>
                      <a:pt x="2859137" y="139310"/>
                      <a:pt x="2871291" y="172969"/>
                    </a:cubicBezTo>
                    <a:cubicBezTo>
                      <a:pt x="2883445" y="206628"/>
                      <a:pt x="2951698" y="288905"/>
                      <a:pt x="2977877" y="318824"/>
                    </a:cubicBezTo>
                    <a:cubicBezTo>
                      <a:pt x="3004056" y="348743"/>
                      <a:pt x="3018081" y="312279"/>
                      <a:pt x="3028366" y="352483"/>
                    </a:cubicBezTo>
                    <a:cubicBezTo>
                      <a:pt x="3038651" y="392687"/>
                      <a:pt x="3024626" y="511428"/>
                      <a:pt x="3039585" y="560046"/>
                    </a:cubicBezTo>
                    <a:cubicBezTo>
                      <a:pt x="3054545" y="608665"/>
                      <a:pt x="3105033" y="600250"/>
                      <a:pt x="3118123" y="644194"/>
                    </a:cubicBezTo>
                    <a:cubicBezTo>
                      <a:pt x="3131213" y="688138"/>
                      <a:pt x="3126538" y="777895"/>
                      <a:pt x="3118123" y="823708"/>
                    </a:cubicBezTo>
                    <a:cubicBezTo>
                      <a:pt x="3109708" y="869522"/>
                      <a:pt x="3077919" y="892896"/>
                      <a:pt x="3067634" y="919075"/>
                    </a:cubicBezTo>
                    <a:cubicBezTo>
                      <a:pt x="3057349" y="945254"/>
                      <a:pt x="3058285" y="972368"/>
                      <a:pt x="3056415" y="980783"/>
                    </a:cubicBezTo>
                  </a:path>
                </a:pathLst>
              </a:custGeom>
              <a:noFill/>
              <a:ln w="38100" cap="flat" cmpd="sng" algn="ctr">
                <a:solidFill>
                  <a:schemeClr val="bg2">
                    <a:lumMod val="75000"/>
                  </a:schemeClr>
                </a:solidFill>
                <a:prstDash val="solid"/>
              </a:ln>
              <a:effectLst/>
            </p:spPr>
            <p:txBody>
              <a:bodyPr anchor="ctr"/>
              <a:lstStyle/>
              <a:p>
                <a:pPr eaLnBrk="0" hangingPunct="0">
                  <a:spcBef>
                    <a:spcPct val="50000"/>
                  </a:spcBef>
                  <a:defRPr/>
                </a:pPr>
                <a:endParaRPr lang="de-DE" kern="0" dirty="0">
                  <a:solidFill>
                    <a:srgbClr val="000000"/>
                  </a:solidFill>
                </a:endParaRPr>
              </a:p>
            </p:txBody>
          </p:sp>
          <p:sp>
            <p:nvSpPr>
              <p:cNvPr id="301" name="Freihandform 300"/>
              <p:cNvSpPr/>
              <p:nvPr/>
            </p:nvSpPr>
            <p:spPr>
              <a:xfrm>
                <a:off x="5714633" y="3377162"/>
                <a:ext cx="721540" cy="117855"/>
              </a:xfrm>
              <a:custGeom>
                <a:avLst/>
                <a:gdLst>
                  <a:gd name="connsiteX0" fmla="*/ 8415 w 1755873"/>
                  <a:gd name="connsiteY0" fmla="*/ 235612 h 280490"/>
                  <a:gd name="connsiteX1" fmla="*/ 131831 w 1755873"/>
                  <a:gd name="connsiteY1" fmla="*/ 280490 h 280490"/>
                  <a:gd name="connsiteX2" fmla="*/ 799399 w 1755873"/>
                  <a:gd name="connsiteY2" fmla="*/ 258051 h 280490"/>
                  <a:gd name="connsiteX3" fmla="*/ 1472577 w 1755873"/>
                  <a:gd name="connsiteY3" fmla="*/ 230002 h 280490"/>
                  <a:gd name="connsiteX4" fmla="*/ 1663310 w 1755873"/>
                  <a:gd name="connsiteY4" fmla="*/ 151465 h 280490"/>
                  <a:gd name="connsiteX5" fmla="*/ 1753068 w 1755873"/>
                  <a:gd name="connsiteY5" fmla="*/ 84147 h 280490"/>
                  <a:gd name="connsiteX6" fmla="*/ 1680140 w 1755873"/>
                  <a:gd name="connsiteY6" fmla="*/ 0 h 280490"/>
                  <a:gd name="connsiteX0" fmla="*/ 8415 w 1755873"/>
                  <a:gd name="connsiteY0" fmla="*/ 235612 h 280490"/>
                  <a:gd name="connsiteX1" fmla="*/ 131831 w 1755873"/>
                  <a:gd name="connsiteY1" fmla="*/ 280490 h 280490"/>
                  <a:gd name="connsiteX2" fmla="*/ 799399 w 1755873"/>
                  <a:gd name="connsiteY2" fmla="*/ 258051 h 280490"/>
                  <a:gd name="connsiteX3" fmla="*/ 1472577 w 1755873"/>
                  <a:gd name="connsiteY3" fmla="*/ 230002 h 280490"/>
                  <a:gd name="connsiteX4" fmla="*/ 1663310 w 1755873"/>
                  <a:gd name="connsiteY4" fmla="*/ 151465 h 280490"/>
                  <a:gd name="connsiteX5" fmla="*/ 1753068 w 1755873"/>
                  <a:gd name="connsiteY5" fmla="*/ 84147 h 280490"/>
                  <a:gd name="connsiteX6" fmla="*/ 1680140 w 1755873"/>
                  <a:gd name="connsiteY6" fmla="*/ 0 h 28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5873" h="280490">
                    <a:moveTo>
                      <a:pt x="8415" y="235612"/>
                    </a:moveTo>
                    <a:cubicBezTo>
                      <a:pt x="4207" y="256181"/>
                      <a:pt x="0" y="276750"/>
                      <a:pt x="131831" y="280490"/>
                    </a:cubicBezTo>
                    <a:lnTo>
                      <a:pt x="799399" y="258051"/>
                    </a:lnTo>
                    <a:cubicBezTo>
                      <a:pt x="1022857" y="249636"/>
                      <a:pt x="1328592" y="247766"/>
                      <a:pt x="1472577" y="230002"/>
                    </a:cubicBezTo>
                    <a:lnTo>
                      <a:pt x="1663310" y="151465"/>
                    </a:lnTo>
                    <a:cubicBezTo>
                      <a:pt x="1710059" y="127156"/>
                      <a:pt x="1750263" y="109391"/>
                      <a:pt x="1753068" y="84147"/>
                    </a:cubicBezTo>
                    <a:cubicBezTo>
                      <a:pt x="1755873" y="58903"/>
                      <a:pt x="1704449" y="17764"/>
                      <a:pt x="1680140" y="0"/>
                    </a:cubicBezTo>
                  </a:path>
                </a:pathLst>
              </a:custGeom>
              <a:noFill/>
              <a:ln w="19050" cap="flat" cmpd="sng" algn="ctr">
                <a:solidFill>
                  <a:schemeClr val="bg2">
                    <a:lumMod val="75000"/>
                  </a:schemeClr>
                </a:solidFill>
                <a:prstDash val="solid"/>
              </a:ln>
              <a:effectLst/>
            </p:spPr>
            <p:txBody>
              <a:bodyPr anchor="ctr"/>
              <a:lstStyle/>
              <a:p>
                <a:pPr eaLnBrk="0" hangingPunct="0">
                  <a:spcBef>
                    <a:spcPct val="50000"/>
                  </a:spcBef>
                  <a:defRPr/>
                </a:pPr>
                <a:endParaRPr lang="de-DE" kern="0" dirty="0">
                  <a:solidFill>
                    <a:srgbClr val="000000"/>
                  </a:solidFill>
                </a:endParaRPr>
              </a:p>
            </p:txBody>
          </p:sp>
        </p:grpSp>
        <p:sp>
          <p:nvSpPr>
            <p:cNvPr id="290" name="Textfeld 111"/>
            <p:cNvSpPr txBox="1">
              <a:spLocks noChangeArrowheads="1"/>
            </p:cNvSpPr>
            <p:nvPr/>
          </p:nvSpPr>
          <p:spPr bwMode="auto">
            <a:xfrm>
              <a:off x="7577323" y="3604142"/>
              <a:ext cx="1076923" cy="288987"/>
            </a:xfrm>
            <a:prstGeom prst="rect">
              <a:avLst/>
            </a:prstGeom>
            <a:noFill/>
            <a:ln w="9525">
              <a:noFill/>
              <a:miter lim="800000"/>
              <a:headEnd/>
              <a:tailEnd/>
            </a:ln>
          </p:spPr>
          <p:txBody>
            <a:bodyPr wrap="square">
              <a:spAutoFit/>
            </a:bodyPr>
            <a:lstStyle/>
            <a:p>
              <a:pPr algn="ctr"/>
              <a:r>
                <a:rPr lang="de-DE" sz="800" b="1" dirty="0" smtClean="0">
                  <a:solidFill>
                    <a:srgbClr val="000000"/>
                  </a:solidFill>
                </a:rPr>
                <a:t>VS1/VS2</a:t>
              </a:r>
              <a:endParaRPr lang="de-DE" sz="800" b="1" dirty="0">
                <a:solidFill>
                  <a:srgbClr val="000000"/>
                </a:solidFill>
              </a:endParaRPr>
            </a:p>
          </p:txBody>
        </p:sp>
      </p:grpSp>
      <p:grpSp>
        <p:nvGrpSpPr>
          <p:cNvPr id="64" name="Gruppieren 277"/>
          <p:cNvGrpSpPr/>
          <p:nvPr/>
        </p:nvGrpSpPr>
        <p:grpSpPr>
          <a:xfrm>
            <a:off x="1970602" y="4077584"/>
            <a:ext cx="1092713" cy="887078"/>
            <a:chOff x="1752655" y="4077584"/>
            <a:chExt cx="1092713" cy="887078"/>
          </a:xfrm>
        </p:grpSpPr>
        <p:sp>
          <p:nvSpPr>
            <p:cNvPr id="254" name="Abgerundetes Rechteck 253"/>
            <p:cNvSpPr/>
            <p:nvPr/>
          </p:nvSpPr>
          <p:spPr bwMode="auto">
            <a:xfrm>
              <a:off x="1826274" y="4077584"/>
              <a:ext cx="936000" cy="144000"/>
            </a:xfrm>
            <a:prstGeom prst="roundRect">
              <a:avLst>
                <a:gd name="adj" fmla="val 0"/>
              </a:avLst>
            </a:prstGeom>
            <a:solidFill>
              <a:srgbClr val="405A7F"/>
            </a:solidFill>
            <a:ln w="19050" cap="flat" cmpd="sng" algn="ctr">
              <a:solidFill>
                <a:srgbClr val="405A7F"/>
              </a:solidFill>
              <a:prstDash val="solid"/>
              <a:round/>
              <a:headEnd type="none" w="med" len="med"/>
              <a:tailEnd type="none" w="med" len="med"/>
            </a:ln>
            <a:effectLst/>
          </p:spPr>
          <p:txBody>
            <a:bodyPr lIns="36000" tIns="36000" rIns="36000" bIns="36000" anchor="ctr"/>
            <a:lstStyle/>
            <a:p>
              <a:pPr algn="ctr">
                <a:defRPr/>
              </a:pPr>
              <a:endParaRPr lang="de-DE" sz="1000" b="1" dirty="0" smtClean="0">
                <a:solidFill>
                  <a:srgbClr val="FFFFFF"/>
                </a:solidFill>
              </a:endParaRPr>
            </a:p>
          </p:txBody>
        </p:sp>
        <p:sp>
          <p:nvSpPr>
            <p:cNvPr id="156" name="Raute 155"/>
            <p:cNvSpPr/>
            <p:nvPr/>
          </p:nvSpPr>
          <p:spPr bwMode="auto">
            <a:xfrm>
              <a:off x="1752655" y="4077584"/>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157" name="Raute 156"/>
            <p:cNvSpPr/>
            <p:nvPr/>
          </p:nvSpPr>
          <p:spPr bwMode="auto">
            <a:xfrm>
              <a:off x="2701368" y="4077584"/>
              <a:ext cx="144000" cy="144000"/>
            </a:xfrm>
            <a:prstGeom prst="diamond">
              <a:avLst/>
            </a:prstGeom>
            <a:solidFill>
              <a:schemeClr val="tx2">
                <a:lumMod val="75000"/>
              </a:schemeClr>
            </a:solidFill>
            <a:ln w="19050" cap="flat" cmpd="sng" algn="ctr">
              <a:noFill/>
              <a:prstDash val="solid"/>
              <a:round/>
              <a:headEnd type="none" w="med" len="med"/>
              <a:tailEnd type="none" w="med" len="med"/>
            </a:ln>
            <a:effectLst/>
          </p:spPr>
          <p:txBody>
            <a:bodyPr lIns="36000" tIns="36000" rIns="36000" bIns="36000"/>
            <a:lstStyle/>
            <a:p>
              <a:pPr>
                <a:lnSpc>
                  <a:spcPct val="95000"/>
                </a:lnSpc>
                <a:defRPr/>
              </a:pPr>
              <a:endParaRPr lang="de-DE" sz="1400" b="1" dirty="0">
                <a:solidFill>
                  <a:prstClr val="black"/>
                </a:solidFill>
              </a:endParaRPr>
            </a:p>
          </p:txBody>
        </p:sp>
        <p:sp>
          <p:nvSpPr>
            <p:cNvPr id="188" name="Rechteck 187"/>
            <p:cNvSpPr/>
            <p:nvPr/>
          </p:nvSpPr>
          <p:spPr>
            <a:xfrm>
              <a:off x="1907704" y="4211562"/>
              <a:ext cx="720080" cy="753100"/>
            </a:xfrm>
            <a:prstGeom prst="rect">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000" dirty="0" smtClean="0">
                  <a:solidFill>
                    <a:prstClr val="white"/>
                  </a:solidFill>
                </a:rPr>
                <a:t>RS 150</a:t>
              </a:r>
              <a:endParaRPr lang="de-DE" sz="1000" dirty="0">
                <a:solidFill>
                  <a:prstClr val="white"/>
                </a:solidFill>
              </a:endParaRPr>
            </a:p>
          </p:txBody>
        </p:sp>
      </p:grpSp>
      <p:grpSp>
        <p:nvGrpSpPr>
          <p:cNvPr id="65" name="Gruppieren 212"/>
          <p:cNvGrpSpPr/>
          <p:nvPr/>
        </p:nvGrpSpPr>
        <p:grpSpPr>
          <a:xfrm>
            <a:off x="7308304" y="2566802"/>
            <a:ext cx="1320470" cy="558296"/>
            <a:chOff x="7308304" y="2589662"/>
            <a:chExt cx="1320470" cy="558296"/>
          </a:xfrm>
        </p:grpSpPr>
        <p:sp>
          <p:nvSpPr>
            <p:cNvPr id="224" name="Textfeld 223"/>
            <p:cNvSpPr txBox="1"/>
            <p:nvPr/>
          </p:nvSpPr>
          <p:spPr>
            <a:xfrm>
              <a:off x="7487832" y="2589662"/>
              <a:ext cx="904415" cy="307777"/>
            </a:xfrm>
            <a:prstGeom prst="rect">
              <a:avLst/>
            </a:prstGeom>
            <a:noFill/>
          </p:spPr>
          <p:txBody>
            <a:bodyPr wrap="none" rtlCol="0" anchor="ctr">
              <a:spAutoFit/>
            </a:bodyPr>
            <a:lstStyle/>
            <a:p>
              <a:pPr algn="ctr"/>
              <a:r>
                <a:rPr lang="de-DE" sz="1400" smtClean="0">
                  <a:solidFill>
                    <a:prstClr val="black"/>
                  </a:solidFill>
                </a:rPr>
                <a:t>Schematic</a:t>
              </a:r>
              <a:endParaRPr lang="de-DE" sz="1400" dirty="0">
                <a:solidFill>
                  <a:prstClr val="black"/>
                </a:solidFill>
              </a:endParaRPr>
            </a:p>
          </p:txBody>
        </p:sp>
        <p:cxnSp>
          <p:nvCxnSpPr>
            <p:cNvPr id="291" name="Gerade Verbindung 290"/>
            <p:cNvCxnSpPr/>
            <p:nvPr/>
          </p:nvCxnSpPr>
          <p:spPr>
            <a:xfrm>
              <a:off x="7308304" y="2636408"/>
              <a:ext cx="13168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2" name="Gerade Verbindung 291"/>
            <p:cNvCxnSpPr/>
            <p:nvPr/>
          </p:nvCxnSpPr>
          <p:spPr>
            <a:xfrm>
              <a:off x="7308304" y="2862461"/>
              <a:ext cx="131687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3" name="Textfeld 292"/>
            <p:cNvSpPr txBox="1"/>
            <p:nvPr/>
          </p:nvSpPr>
          <p:spPr>
            <a:xfrm>
              <a:off x="7318811" y="2870959"/>
              <a:ext cx="1309963" cy="276999"/>
            </a:xfrm>
            <a:prstGeom prst="rect">
              <a:avLst/>
            </a:prstGeom>
            <a:noFill/>
          </p:spPr>
          <p:txBody>
            <a:bodyPr wrap="square" rtlCol="0">
              <a:spAutoFit/>
            </a:bodyPr>
            <a:lstStyle/>
            <a:p>
              <a:pPr algn="ctr"/>
              <a:r>
                <a:rPr lang="de-DE" sz="600" b="1" smtClean="0">
                  <a:solidFill>
                    <a:prstClr val="black"/>
                  </a:solidFill>
                </a:rPr>
                <a:t>The liustration  may differ proportionally from reality.</a:t>
              </a:r>
              <a:endParaRPr lang="de-DE" sz="600" b="1" dirty="0">
                <a:solidFill>
                  <a:prstClr val="black"/>
                </a:solidFill>
              </a:endParaRPr>
            </a:p>
          </p:txBody>
        </p:sp>
      </p:grpSp>
      <p:sp>
        <p:nvSpPr>
          <p:cNvPr id="212" name="Foliennummernplatzhalter 27"/>
          <p:cNvSpPr txBox="1">
            <a:spLocks/>
          </p:cNvSpPr>
          <p:nvPr/>
        </p:nvSpPr>
        <p:spPr>
          <a:xfrm>
            <a:off x="6553200" y="6528871"/>
            <a:ext cx="2124075" cy="329130"/>
          </a:xfrm>
          <a:prstGeom prst="rect">
            <a:avLst/>
          </a:prstGeom>
        </p:spPr>
        <p:txBody>
          <a:bodyPr vert="horz"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sz="900" smtClean="0"/>
              <a:t>Slide</a:t>
            </a:r>
            <a:r>
              <a:rPr kumimoji="0" lang="de-DE" sz="900" b="0" i="0" u="none" strike="noStrike" kern="1200" cap="none" spc="0" normalizeH="0" baseline="0" noProof="0" smtClean="0">
                <a:ln>
                  <a:noFill/>
                </a:ln>
                <a:solidFill>
                  <a:schemeClr val="tx1"/>
                </a:solidFill>
                <a:effectLst/>
                <a:uLnTx/>
                <a:uFillTx/>
                <a:latin typeface="+mn-lt"/>
                <a:ea typeface="+mn-ea"/>
                <a:cs typeface="+mn-cs"/>
              </a:rPr>
              <a:t> </a:t>
            </a:r>
            <a:fld id="{AA807A42-CF27-4B84-8583-18EBE418342E}" type="slidenum">
              <a:rPr kumimoji="0" lang="de-DE"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9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 xmlns:p14="http://schemas.microsoft.com/office/powerpoint/2010/main" val="1105888914"/>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54&quot;/&gt;&lt;CPresentation id=&quot;1&quot;&gt;&lt;m_precDefaultNumber/&gt;&lt;m_precDefaultPercent/&gt;&lt;m_precDefaultDate/&gt;&lt;m_precDefaultYear/&gt;&lt;m_precDefaultQuarter/&gt;&lt;m_precDefaultMonth&gt;&lt;m_strFormatTime&gt;%1&lt;/m_strFormatTime&gt;&lt;/m_precDefaultMonth&gt;&lt;m_precDefaultWeek&gt;&lt;m_strFormatTime&gt;%4&lt;/m_strFormatTime&gt;&lt;/m_precDefaultWeek&gt;&lt;m_precDefaultDay&gt;&lt;m_strFormatTime&gt;%#d&lt;/m_strFormatTime&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w9Cz7RkwkSw3LlWlpN2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Old_nm0C0.hwkFHrWleZ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15c90Z4BkWWC8f9Ttr9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RbEFUtcM06HSNkwRiwI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peVJEzMTUC.3VDrkox6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QxNbOFX70G.a0Ez6nPYl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j5FD7Eh.kel0JbX.vec7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7DM6LRF1K0OJeyKdT5Nt6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6dcx1twwEScX0Sspfbt_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C3vQIgw8EqmrM4SXdfa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B7jdxPVKUSu4S0EcARse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1O4nU8jVckWf8dXmXNu2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HY4.O6hVEO3MFnpCMr3.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dtw47zN6ESW4eH5Iex7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nb49UKikE6jarNPKFhD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xW2bXd0zk65tAWN42Qel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JcB0Fp7_kSOV1w4mkBK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9QtVzUP0kWkEbLfsasQM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w_MDw22_U2S8HXmPhAbC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99wRyvSkKEWcIzD_eWLKf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F3EYLEMQkShlWAsy3NF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Jg03bEj4kO8TNCwUBE0B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7h7qaOjjjkuhqVMtt_Sn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JKW_WhICU.PDbS5MJE_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7.3qIOEJUKZKA5AikgH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KrmSptr5MUaQloTDO3I0v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gqnMYSJrEWpoW03N8hLe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nObxZIVXEuKpgcEJ7poI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8qNiGGa9EeHn8GbIeB8H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dXtYQima0y6R5n793xF4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Ke0wUawI0STY0jBR62T4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DNLG03rnk.bEsLxYHzM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Jg03bEj4kO8TNCwUBE0B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RTxIDzpDU.iSnV61MHm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C8KJNmClcEeASMyd6F7.P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73IZze6NZESRYCZZDpkLl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N1f9fy9qkGuWDlBToDeO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1iIau5stUKjeCJmEQPc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2iaHzygCNUSzdbiC8LwFSw"/>
</p:tagLst>
</file>

<file path=ppt/tags/tag46.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14"/>
</p:tagLst>
</file>

<file path=ppt/tags/tag47.xml><?xml version="1.0" encoding="utf-8"?>
<p:tagLst xmlns:a="http://schemas.openxmlformats.org/drawingml/2006/main" xmlns:r="http://schemas.openxmlformats.org/officeDocument/2006/relationships" xmlns:p="http://schemas.openxmlformats.org/presentationml/2006/main">
  <p:tag name="LINEFORECOLOR" val="10921638"/>
  <p:tag name="LINEFORESCHEMECOLOR" val="14"/>
</p:tagLst>
</file>

<file path=ppt/tags/tag48.xml><?xml version="1.0" encoding="utf-8"?>
<p:tagLst xmlns:a="http://schemas.openxmlformats.org/drawingml/2006/main" xmlns:r="http://schemas.openxmlformats.org/officeDocument/2006/relationships" xmlns:p="http://schemas.openxmlformats.org/presentationml/2006/main">
  <p:tag name="LINEFORECOLOR" val="12566463"/>
  <p:tag name="LINEFORESCHEMECOLOR" val="14"/>
</p:tagLst>
</file>

<file path=ppt/tags/tag49.xml><?xml version="1.0" encoding="utf-8"?>
<p:tagLst xmlns:a="http://schemas.openxmlformats.org/drawingml/2006/main" xmlns:r="http://schemas.openxmlformats.org/officeDocument/2006/relationships" xmlns:p="http://schemas.openxmlformats.org/presentationml/2006/main">
  <p:tag name="LINEFORECOLOR" val="10921638"/>
  <p:tag name="LINEFORESCHEMECOLOR" val="1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Jg03bEj4kO8TNCwUBE0BQ"/>
</p:tagLst>
</file>

<file path=ppt/tags/tag50.xml><?xml version="1.0" encoding="utf-8"?>
<p:tagLst xmlns:a="http://schemas.openxmlformats.org/drawingml/2006/main" xmlns:r="http://schemas.openxmlformats.org/officeDocument/2006/relationships" xmlns:p="http://schemas.openxmlformats.org/presentationml/2006/main">
  <p:tag name="LINEFORECOLOR" val="10921638"/>
  <p:tag name="LINEFORESCHEMECOLOR" val="14"/>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sqln4_zB0u1rMC.4u08m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FjIiSn0W0CzZkWlt5m9Y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v3pStV4fEKmBW138F.cvA"/>
</p:tagLst>
</file>

<file path=ppt/tags/tag54.xml><?xml version="1.0" encoding="utf-8"?>
<p:tagLst xmlns:a="http://schemas.openxmlformats.org/drawingml/2006/main" xmlns:r="http://schemas.openxmlformats.org/officeDocument/2006/relationships" xmlns:p="http://schemas.openxmlformats.org/presentationml/2006/main">
  <p:tag name="FILLFORECOLOR" val="16777215"/>
  <p:tag name="FILLFORESCHEMECOLOR" val="14"/>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XGkXdoTsku0dCUEf3xQ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rmSptr5MUaQloTDO3I0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cgXUotPqEKd_01BnDPA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hTKxBWgm0yQy8oz1D7atA"/>
</p:tagLst>
</file>

<file path=ppt/theme/theme1.xml><?xml version="1.0" encoding="utf-8"?>
<a:theme xmlns:a="http://schemas.openxmlformats.org/drawingml/2006/main" name="20111115_Präsentationsstandard_L5-7">
  <a:themeElements>
    <a:clrScheme name="BMW GROUP">
      <a:dk1>
        <a:sysClr val="windowText" lastClr="000000"/>
      </a:dk1>
      <a:lt1>
        <a:sysClr val="window" lastClr="FFFFFF"/>
      </a:lt1>
      <a:dk2>
        <a:srgbClr val="595443"/>
      </a:dk2>
      <a:lt2>
        <a:srgbClr val="5678A9"/>
      </a:lt2>
      <a:accent1>
        <a:srgbClr val="00B050"/>
      </a:accent1>
      <a:accent2>
        <a:srgbClr val="FFD600"/>
      </a:accent2>
      <a:accent3>
        <a:srgbClr val="914F28"/>
      </a:accent3>
      <a:accent4>
        <a:srgbClr val="FF0000"/>
      </a:accent4>
      <a:accent5>
        <a:srgbClr val="F19100"/>
      </a:accent5>
      <a:accent6>
        <a:srgbClr val="0070C0"/>
      </a:accent6>
      <a:hlink>
        <a:srgbClr val="000000"/>
      </a:hlink>
      <a:folHlink>
        <a:srgbClr val="000000"/>
      </a:folHlink>
    </a:clrScheme>
    <a:fontScheme name="BMW GROUP">
      <a:majorFont>
        <a:latin typeface="BMW Group Condensed"/>
        <a:ea typeface=""/>
        <a:cs typeface=""/>
      </a:majorFont>
      <a:minorFont>
        <a:latin typeface="BMW Group Condensed"/>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tx1"/>
          </a:solidFill>
          <a:headEnd type="none" w="med" len="med"/>
          <a:tailEnd type="triangle" w="med" len="med"/>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20111115_Präsentationsstandard_L5-7</Template>
  <TotalTime>0</TotalTime>
  <Words>3148</Words>
  <Application>Microsoft Office PowerPoint</Application>
  <PresentationFormat>Bildschirmpräsentation (4:3)</PresentationFormat>
  <Paragraphs>523</Paragraphs>
  <Slides>18</Slides>
  <Notes>5</Notes>
  <HiddenSlides>0</HiddenSlides>
  <MMClips>0</MMClips>
  <ScaleCrop>false</ScaleCrop>
  <HeadingPairs>
    <vt:vector size="6" baseType="variant">
      <vt:variant>
        <vt:lpstr>Design</vt:lpstr>
      </vt:variant>
      <vt:variant>
        <vt:i4>1</vt:i4>
      </vt:variant>
      <vt:variant>
        <vt:lpstr>Eingebettete OLE-Server</vt:lpstr>
      </vt:variant>
      <vt:variant>
        <vt:i4>2</vt:i4>
      </vt:variant>
      <vt:variant>
        <vt:lpstr>Folientitel</vt:lpstr>
      </vt:variant>
      <vt:variant>
        <vt:i4>18</vt:i4>
      </vt:variant>
    </vt:vector>
  </HeadingPairs>
  <TitlesOfParts>
    <vt:vector size="21" baseType="lpstr">
      <vt:lpstr>20111115_Präsentationsstandard_L5-7</vt:lpstr>
      <vt:lpstr>think-cell Folie</vt:lpstr>
      <vt:lpstr>Chart</vt:lpstr>
      <vt:lpstr>Folie 1</vt:lpstr>
      <vt:lpstr>Folie 2</vt:lpstr>
      <vt:lpstr>Folie 3</vt:lpstr>
      <vt:lpstr>Folie 4</vt:lpstr>
      <vt:lpstr>Folie 5</vt:lpstr>
      <vt:lpstr>Folie 6</vt:lpstr>
      <vt:lpstr>Folie 7</vt:lpstr>
      <vt:lpstr>Folie 8</vt:lpstr>
      <vt:lpstr>Folie 9</vt:lpstr>
      <vt:lpstr>Folie 10</vt:lpstr>
      <vt:lpstr>Folie 11</vt:lpstr>
      <vt:lpstr>Folie 12</vt:lpstr>
      <vt:lpstr>Folie 13</vt:lpstr>
      <vt:lpstr>Folie 14</vt:lpstr>
      <vt:lpstr>Folie 15</vt:lpstr>
      <vt:lpstr>Folie 16</vt:lpstr>
      <vt:lpstr>Folie 17</vt:lpstr>
      <vt:lpstr>Folie 18</vt:lpstr>
    </vt:vector>
  </TitlesOfParts>
  <Company>BMW Grou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Tullio Patric</dc:creator>
  <cp:lastModifiedBy>Moertlbauer Marcus</cp:lastModifiedBy>
  <cp:revision>261</cp:revision>
  <dcterms:created xsi:type="dcterms:W3CDTF">2011-11-22T07:38:41Z</dcterms:created>
  <dcterms:modified xsi:type="dcterms:W3CDTF">2014-07-24T07:45:37Z</dcterms:modified>
  <cp:contentStatus>v1</cp:contentStatus>
</cp:coreProperties>
</file>